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7.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4874" r:id="rId2"/>
    <p:sldMasterId id="2147484924" r:id="rId3"/>
    <p:sldMasterId id="2147484927" r:id="rId4"/>
    <p:sldMasterId id="2147484935" r:id="rId5"/>
    <p:sldMasterId id="2147484952" r:id="rId6"/>
  </p:sldMasterIdLst>
  <p:notesMasterIdLst>
    <p:notesMasterId r:id="rId26"/>
  </p:notesMasterIdLst>
  <p:sldIdLst>
    <p:sldId id="2103813174" r:id="rId7"/>
    <p:sldId id="2103813334" r:id="rId8"/>
    <p:sldId id="2147470518" r:id="rId9"/>
    <p:sldId id="2103813184" r:id="rId10"/>
    <p:sldId id="2147470502" r:id="rId11"/>
    <p:sldId id="2147470503" r:id="rId12"/>
    <p:sldId id="2147470501" r:id="rId13"/>
    <p:sldId id="2147470504" r:id="rId14"/>
    <p:sldId id="2147470520" r:id="rId15"/>
    <p:sldId id="11117" r:id="rId16"/>
    <p:sldId id="1675" r:id="rId17"/>
    <p:sldId id="11120" r:id="rId18"/>
    <p:sldId id="2103813176" r:id="rId19"/>
    <p:sldId id="2147470495" r:id="rId20"/>
    <p:sldId id="2147470505" r:id="rId21"/>
    <p:sldId id="2147470522" r:id="rId22"/>
    <p:sldId id="2147470521" r:id="rId23"/>
    <p:sldId id="530" r:id="rId24"/>
    <p:sldId id="134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03813334"/>
            <p14:sldId id="2147470518"/>
          </p14:sldIdLst>
        </p14:section>
        <p14:section name="Intelligent Query Processing" id="{1288A27A-E649-41A1-B18E-66EA8061F488}">
          <p14:sldIdLst>
            <p14:sldId id="2103813184"/>
            <p14:sldId id="2147470502"/>
            <p14:sldId id="2147470503"/>
            <p14:sldId id="2147470501"/>
            <p14:sldId id="2147470504"/>
            <p14:sldId id="2147470520"/>
            <p14:sldId id="11117"/>
            <p14:sldId id="1675"/>
            <p14:sldId id="11120"/>
            <p14:sldId id="2103813176"/>
            <p14:sldId id="2147470495"/>
            <p14:sldId id="2147470505"/>
            <p14:sldId id="2147470522"/>
            <p14:sldId id="2147470521"/>
          </p14:sldIdLst>
        </p14:section>
        <p14:section name="Summary" id="{52C421DB-3256-4659-B3CF-5363399828F3}">
          <p14:sldIdLst>
            <p14:sldId id="530"/>
            <p14:sldId id="13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8000"/>
    <a:srgbClr val="75C3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46" autoAdjust="0"/>
    <p:restoredTop sz="92708" autoAdjust="0"/>
  </p:normalViewPr>
  <p:slideViewPr>
    <p:cSldViewPr snapToGrid="0">
      <p:cViewPr varScale="1">
        <p:scale>
          <a:sx n="54" d="100"/>
          <a:sy n="54" d="100"/>
        </p:scale>
        <p:origin x="56" y="38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4" qsCatId="simple" csTypeId="urn:microsoft.com/office/officeart/2005/8/colors/colorful2" csCatId="colorful" phldr="1"/>
      <dgm:spPr/>
      <dgm:t>
        <a:bodyPr/>
        <a:lstStyle/>
        <a:p>
          <a:endParaRPr lang="en-US"/>
        </a:p>
      </dgm:t>
    </dgm:pt>
    <dgm:pt modelId="{06B0F420-A2DD-4C38-8943-E47A75976368}">
      <dgm:prSet custT="1"/>
      <dgm:spPr/>
      <dgm:t>
        <a:bodyPr/>
        <a:lstStyle/>
        <a:p>
          <a:r>
            <a:rPr lang="en-US" sz="2400" b="1" dirty="0"/>
            <a:t>An Overview of Intelligent Query Processing?</a:t>
          </a:r>
        </a:p>
      </dgm:t>
    </dgm:pt>
    <dgm:pt modelId="{DDA18201-CAF4-4AF1-9209-D0B1EDB8C3BE}" type="parTrans" cxnId="{3FA7F744-0946-4746-A94D-B3B0F3AB4289}">
      <dgm:prSet/>
      <dgm:spPr/>
      <dgm:t>
        <a:bodyPr/>
        <a:lstStyle/>
        <a:p>
          <a:endParaRPr lang="en-US"/>
        </a:p>
      </dgm:t>
    </dgm:pt>
    <dgm:pt modelId="{48F85F08-174A-488C-AB7D-4915668FD800}" type="sibTrans" cxnId="{3FA7F744-0946-4746-A94D-B3B0F3AB4289}">
      <dgm:prSet/>
      <dgm:spPr/>
      <dgm:t>
        <a:bodyPr/>
        <a:lstStyle/>
        <a:p>
          <a:endParaRPr lang="en-US"/>
        </a:p>
      </dgm:t>
    </dgm:pt>
    <dgm:pt modelId="{48208E93-0ED2-4783-A420-DF569AB92630}">
      <dgm:prSet custT="1"/>
      <dgm:spPr/>
      <dgm:t>
        <a:bodyPr/>
        <a:lstStyle/>
        <a:p>
          <a:r>
            <a:rPr lang="en-US" sz="2400" b="1" dirty="0"/>
            <a:t>Enabling and Disabling Features</a:t>
          </a:r>
        </a:p>
      </dgm:t>
    </dgm:pt>
    <dgm:pt modelId="{7A75F61A-27C1-4581-933A-59EBB710BD5D}" type="parTrans" cxnId="{712E8F45-742F-4A07-8BBB-568F5A2EC5E9}">
      <dgm:prSet/>
      <dgm:spPr/>
      <dgm:t>
        <a:bodyPr/>
        <a:lstStyle/>
        <a:p>
          <a:endParaRPr lang="en-US"/>
        </a:p>
      </dgm:t>
    </dgm:pt>
    <dgm:pt modelId="{62759427-9436-43B2-BD24-3EAC37DD7971}" type="sibTrans" cxnId="{712E8F45-742F-4A07-8BBB-568F5A2EC5E9}">
      <dgm:prSet/>
      <dgm:spPr/>
      <dgm:t>
        <a:bodyPr/>
        <a:lstStyle/>
        <a:p>
          <a:endParaRPr lang="en-US"/>
        </a:p>
      </dgm:t>
    </dgm:pt>
    <dgm:pt modelId="{E5E3AD40-E290-4C16-8160-786E2DBC32AA}">
      <dgm:prSet custT="1"/>
      <dgm:spPr/>
      <dgm:t>
        <a:bodyPr/>
        <a:lstStyle/>
        <a:p>
          <a:r>
            <a:rPr lang="en-US" sz="2400" b="1" dirty="0"/>
            <a:t>What is Memory Grant Feedback?</a:t>
          </a:r>
        </a:p>
      </dgm:t>
    </dgm:pt>
    <dgm:pt modelId="{A1B78B65-ECEB-4F48-A41A-F10C8544569E}" type="parTrans" cxnId="{7F8EB2E6-0AE4-4E94-B6D5-58320CAC2AF2}">
      <dgm:prSet/>
      <dgm:spPr/>
      <dgm:t>
        <a:bodyPr/>
        <a:lstStyle/>
        <a:p>
          <a:endParaRPr lang="en-US"/>
        </a:p>
      </dgm:t>
    </dgm:pt>
    <dgm:pt modelId="{34468533-9F93-4C2B-8481-66F40E039091}" type="sibTrans" cxnId="{7F8EB2E6-0AE4-4E94-B6D5-58320CAC2AF2}">
      <dgm:prSet/>
      <dgm:spPr/>
      <dgm:t>
        <a:bodyPr/>
        <a:lstStyle/>
        <a:p>
          <a:endParaRPr lang="en-US"/>
        </a:p>
      </dgm:t>
    </dgm:pt>
    <dgm:pt modelId="{AA049B1A-43DA-402A-9514-2D578C105233}">
      <dgm:prSet custT="1"/>
      <dgm:spPr/>
      <dgm:t>
        <a:bodyPr/>
        <a:lstStyle/>
        <a:p>
          <a:r>
            <a:rPr lang="en-US" sz="2400" b="1" dirty="0"/>
            <a:t>Demonstration</a:t>
          </a:r>
        </a:p>
      </dgm:t>
    </dgm:pt>
    <dgm:pt modelId="{FD00A25E-8D8E-4853-AEB6-E54142981A0E}" type="parTrans" cxnId="{63DCEBD1-2190-4EA8-AE39-69444BC52ECD}">
      <dgm:prSet/>
      <dgm:spPr/>
      <dgm:t>
        <a:bodyPr/>
        <a:lstStyle/>
        <a:p>
          <a:endParaRPr lang="en-US"/>
        </a:p>
      </dgm:t>
    </dgm:pt>
    <dgm:pt modelId="{BABF57AF-C501-4543-9DD0-9E768BF2DE5A}" type="sibTrans" cxnId="{63DCEBD1-2190-4EA8-AE39-69444BC52ECD}">
      <dgm:prSet/>
      <dgm:spPr/>
      <dgm:t>
        <a:bodyPr/>
        <a:lstStyle/>
        <a:p>
          <a:endParaRPr lang="en-US"/>
        </a:p>
      </dgm:t>
    </dgm:pt>
    <dgm:pt modelId="{811B5D52-89C6-4ADA-98E4-5D00A32367D3}" type="pres">
      <dgm:prSet presAssocID="{86EB11C7-8E35-496E-8BBA-B5FE5C2DA876}" presName="linear" presStyleCnt="0">
        <dgm:presLayoutVars>
          <dgm:animLvl val="lvl"/>
          <dgm:resizeHandles val="exact"/>
        </dgm:presLayoutVars>
      </dgm:prSet>
      <dgm:spPr/>
    </dgm:pt>
    <dgm:pt modelId="{92FF7EA9-1E01-4FFE-84FF-2108C119A703}" type="pres">
      <dgm:prSet presAssocID="{06B0F420-A2DD-4C38-8943-E47A75976368}" presName="parentText" presStyleLbl="node1" presStyleIdx="0" presStyleCnt="4">
        <dgm:presLayoutVars>
          <dgm:chMax val="0"/>
          <dgm:bulletEnabled val="1"/>
        </dgm:presLayoutVars>
      </dgm:prSet>
      <dgm:spPr/>
    </dgm:pt>
    <dgm:pt modelId="{FF3568EE-C689-41FB-AF6A-7DDE495F3BDC}" type="pres">
      <dgm:prSet presAssocID="{48F85F08-174A-488C-AB7D-4915668FD800}" presName="spacer" presStyleCnt="0"/>
      <dgm:spPr/>
    </dgm:pt>
    <dgm:pt modelId="{B3FF4F94-AFF8-45A0-8726-E9EEAE2647AC}" type="pres">
      <dgm:prSet presAssocID="{48208E93-0ED2-4783-A420-DF569AB92630}" presName="parentText" presStyleLbl="node1" presStyleIdx="1" presStyleCnt="4">
        <dgm:presLayoutVars>
          <dgm:chMax val="0"/>
          <dgm:bulletEnabled val="1"/>
        </dgm:presLayoutVars>
      </dgm:prSet>
      <dgm:spPr/>
    </dgm:pt>
    <dgm:pt modelId="{7B4EECE6-C2D4-49CA-8358-19E0AD11F8BD}" type="pres">
      <dgm:prSet presAssocID="{62759427-9436-43B2-BD24-3EAC37DD7971}" presName="spacer" presStyleCnt="0"/>
      <dgm:spPr/>
    </dgm:pt>
    <dgm:pt modelId="{6FA26E25-59B6-46AF-B682-722BA7826235}" type="pres">
      <dgm:prSet presAssocID="{E5E3AD40-E290-4C16-8160-786E2DBC32AA}" presName="parentText" presStyleLbl="node1" presStyleIdx="2" presStyleCnt="4">
        <dgm:presLayoutVars>
          <dgm:chMax val="0"/>
          <dgm:bulletEnabled val="1"/>
        </dgm:presLayoutVars>
      </dgm:prSet>
      <dgm:spPr/>
    </dgm:pt>
    <dgm:pt modelId="{72C243B8-BA8B-4729-B82E-4B3F84C7F811}" type="pres">
      <dgm:prSet presAssocID="{34468533-9F93-4C2B-8481-66F40E039091}" presName="spacer" presStyleCnt="0"/>
      <dgm:spPr/>
    </dgm:pt>
    <dgm:pt modelId="{06A6BAF2-CEC0-49FA-AEC5-EA456C95C9BB}" type="pres">
      <dgm:prSet presAssocID="{AA049B1A-43DA-402A-9514-2D578C105233}" presName="parentText" presStyleLbl="node1" presStyleIdx="3" presStyleCnt="4">
        <dgm:presLayoutVars>
          <dgm:chMax val="0"/>
          <dgm:bulletEnabled val="1"/>
        </dgm:presLayoutVars>
      </dgm:prSet>
      <dgm:spPr/>
    </dgm:pt>
  </dgm:ptLst>
  <dgm:cxnLst>
    <dgm:cxn modelId="{51311304-619B-4893-BC52-86905EE054A5}" type="presOf" srcId="{86EB11C7-8E35-496E-8BBA-B5FE5C2DA876}" destId="{811B5D52-89C6-4ADA-98E4-5D00A32367D3}" srcOrd="0" destOrd="0" presId="urn:microsoft.com/office/officeart/2005/8/layout/vList2"/>
    <dgm:cxn modelId="{41472C2F-6A57-4A58-BBBA-4622B7D71CEF}" type="presOf" srcId="{AA049B1A-43DA-402A-9514-2D578C105233}" destId="{06A6BAF2-CEC0-49FA-AEC5-EA456C95C9BB}" srcOrd="0" destOrd="0" presId="urn:microsoft.com/office/officeart/2005/8/layout/vList2"/>
    <dgm:cxn modelId="{3FA7F744-0946-4746-A94D-B3B0F3AB4289}" srcId="{86EB11C7-8E35-496E-8BBA-B5FE5C2DA876}" destId="{06B0F420-A2DD-4C38-8943-E47A75976368}" srcOrd="0" destOrd="0" parTransId="{DDA18201-CAF4-4AF1-9209-D0B1EDB8C3BE}" sibTransId="{48F85F08-174A-488C-AB7D-4915668FD800}"/>
    <dgm:cxn modelId="{712E8F45-742F-4A07-8BBB-568F5A2EC5E9}" srcId="{86EB11C7-8E35-496E-8BBA-B5FE5C2DA876}" destId="{48208E93-0ED2-4783-A420-DF569AB92630}" srcOrd="1" destOrd="0" parTransId="{7A75F61A-27C1-4581-933A-59EBB710BD5D}" sibTransId="{62759427-9436-43B2-BD24-3EAC37DD7971}"/>
    <dgm:cxn modelId="{03E964A4-0096-48A5-B6DA-58241C03B623}" type="presOf" srcId="{06B0F420-A2DD-4C38-8943-E47A75976368}" destId="{92FF7EA9-1E01-4FFE-84FF-2108C119A703}" srcOrd="0" destOrd="0" presId="urn:microsoft.com/office/officeart/2005/8/layout/vList2"/>
    <dgm:cxn modelId="{9EC2D7A4-A5CD-4793-9678-A0B7FBC8904D}" type="presOf" srcId="{48208E93-0ED2-4783-A420-DF569AB92630}" destId="{B3FF4F94-AFF8-45A0-8726-E9EEAE2647AC}" srcOrd="0" destOrd="0" presId="urn:microsoft.com/office/officeart/2005/8/layout/vList2"/>
    <dgm:cxn modelId="{63DCEBD1-2190-4EA8-AE39-69444BC52ECD}" srcId="{86EB11C7-8E35-496E-8BBA-B5FE5C2DA876}" destId="{AA049B1A-43DA-402A-9514-2D578C105233}" srcOrd="3" destOrd="0" parTransId="{FD00A25E-8D8E-4853-AEB6-E54142981A0E}" sibTransId="{BABF57AF-C501-4543-9DD0-9E768BF2DE5A}"/>
    <dgm:cxn modelId="{7F8EB2E6-0AE4-4E94-B6D5-58320CAC2AF2}" srcId="{86EB11C7-8E35-496E-8BBA-B5FE5C2DA876}" destId="{E5E3AD40-E290-4C16-8160-786E2DBC32AA}" srcOrd="2" destOrd="0" parTransId="{A1B78B65-ECEB-4F48-A41A-F10C8544569E}" sibTransId="{34468533-9F93-4C2B-8481-66F40E039091}"/>
    <dgm:cxn modelId="{7A39F4ED-603C-4713-B10C-96DD84DD4CDE}" type="presOf" srcId="{E5E3AD40-E290-4C16-8160-786E2DBC32AA}" destId="{6FA26E25-59B6-46AF-B682-722BA7826235}" srcOrd="0" destOrd="0" presId="urn:microsoft.com/office/officeart/2005/8/layout/vList2"/>
    <dgm:cxn modelId="{946C2483-4797-4E96-8183-ADBCBD641362}" type="presParOf" srcId="{811B5D52-89C6-4ADA-98E4-5D00A32367D3}" destId="{92FF7EA9-1E01-4FFE-84FF-2108C119A703}" srcOrd="0" destOrd="0" presId="urn:microsoft.com/office/officeart/2005/8/layout/vList2"/>
    <dgm:cxn modelId="{11EC5E8C-DEE8-4234-AE9B-C0E08CDA4F79}" type="presParOf" srcId="{811B5D52-89C6-4ADA-98E4-5D00A32367D3}" destId="{FF3568EE-C689-41FB-AF6A-7DDE495F3BDC}" srcOrd="1" destOrd="0" presId="urn:microsoft.com/office/officeart/2005/8/layout/vList2"/>
    <dgm:cxn modelId="{A6A248A1-7ED4-4216-AD08-F578FEDC6761}" type="presParOf" srcId="{811B5D52-89C6-4ADA-98E4-5D00A32367D3}" destId="{B3FF4F94-AFF8-45A0-8726-E9EEAE2647AC}" srcOrd="2" destOrd="0" presId="urn:microsoft.com/office/officeart/2005/8/layout/vList2"/>
    <dgm:cxn modelId="{C97B5B91-8A2C-426E-84FF-C1954007E90B}" type="presParOf" srcId="{811B5D52-89C6-4ADA-98E4-5D00A32367D3}" destId="{7B4EECE6-C2D4-49CA-8358-19E0AD11F8BD}" srcOrd="3" destOrd="0" presId="urn:microsoft.com/office/officeart/2005/8/layout/vList2"/>
    <dgm:cxn modelId="{92E44A09-7106-4A66-86AF-FF274911466F}" type="presParOf" srcId="{811B5D52-89C6-4ADA-98E4-5D00A32367D3}" destId="{6FA26E25-59B6-46AF-B682-722BA7826235}" srcOrd="4" destOrd="0" presId="urn:microsoft.com/office/officeart/2005/8/layout/vList2"/>
    <dgm:cxn modelId="{50963EC7-27A1-4646-9134-0BCCA4663F69}" type="presParOf" srcId="{811B5D52-89C6-4ADA-98E4-5D00A32367D3}" destId="{72C243B8-BA8B-4729-B82E-4B3F84C7F811}" srcOrd="5" destOrd="0" presId="urn:microsoft.com/office/officeart/2005/8/layout/vList2"/>
    <dgm:cxn modelId="{9775F1BC-C0B7-473F-9F1F-0FC427280EB7}" type="presParOf" srcId="{811B5D52-89C6-4ADA-98E4-5D00A32367D3}" destId="{06A6BAF2-CEC0-49FA-AEC5-EA456C95C9B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chemeClr val="tx2">
            <a:lumMod val="60000"/>
            <a:lumOff val="40000"/>
          </a:schemeClr>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F73EFAA-AC05-4F91-9BA5-6E511FAF9278}" type="pres">
      <dgm:prSet presAssocID="{3A2A32F0-C73D-42A0-BA11-AFA02ABE79C2}" presName="Name19" presStyleLbl="parChTrans1D2" presStyleIdx="0" presStyleCnt="1"/>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0" presStyleCnt="4"/>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1" presStyleCnt="4"/>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2" presStyleCnt="4"/>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3" presStyleCnt="4" custScaleX="99701"/>
      <dgm:spPr/>
    </dgm:pt>
    <dgm:pt modelId="{F3521D69-E795-4603-B943-ED28550BE7E2}" type="pres">
      <dgm:prSet presAssocID="{63ACDB67-93BB-4C9C-A990-84988CC78D4C}" presName="hierChild3" presStyleCnt="0"/>
      <dgm:spPr/>
    </dgm:pt>
    <dgm:pt modelId="{944D2ECF-FF7F-4937-9891-343B25FA2353}" type="pres">
      <dgm:prSet presAssocID="{6E762228-84FE-45B2-9BB6-19E98A9BB7EA}" presName="bgShapesFlow" presStyleCnt="0"/>
      <dgm:spPr/>
    </dgm:pt>
  </dgm:ptLst>
  <dgm:cxnLst>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0CEB1D1A-185D-41D7-BD0D-D5B9610F09A6}" srcId="{2787F9B9-D9EE-40F6-ABD4-C13F268A8AF1}" destId="{FE5A3D51-3C08-4DB9-99E3-39C94436AA5B}" srcOrd="0"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2BF4486C-3C4A-429C-B233-3C140CF7BC79}" srcId="{FE5A3D51-3C08-4DB9-99E3-39C94436AA5B}" destId="{63ACDB67-93BB-4C9C-A990-84988CC78D4C}" srcOrd="2" destOrd="0" parTransId="{F68F2B22-1F4D-4139-91E7-10E316EC2856}" sibTransId="{99FAF757-4020-44DE-9ABC-C5358919831C}"/>
    <dgm:cxn modelId="{303BAABE-F4E6-44F1-96AC-A8AE2D2A6D46}" type="presOf" srcId="{270DB351-209F-44E3-AE5D-DD3AA05A8175}" destId="{8F552DA2-FC5B-40D6-B601-DCA076FAF8FB}"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F2002C25-2786-4667-BD0D-FBC5A9275543}" type="presParOf" srcId="{50299AF2-8E56-4139-91AA-88B7CD7A011D}" destId="{9F73EFAA-AC05-4F91-9BA5-6E511FAF9278}" srcOrd="0" destOrd="0" presId="urn:microsoft.com/office/officeart/2005/8/layout/hierarchy6"/>
    <dgm:cxn modelId="{6C8E08C9-894A-4A6C-8073-4CF377B619A7}" type="presParOf" srcId="{50299AF2-8E56-4139-91AA-88B7CD7A011D}" destId="{EEBFBD1D-D977-4A6E-A8F4-F0D34CB82784}" srcOrd="1"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CAC6E89-8D61-41CE-B485-D446E81BC55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FE5806CA-90C0-4767-B9A2-2F5EE4877C19}">
      <dgm:prSet phldrT="[Text]" phldr="0"/>
      <dgm:spPr/>
      <dgm:t>
        <a:bodyPr/>
        <a:lstStyle/>
        <a:p>
          <a:r>
            <a:rPr lang="en-US" b="1" dirty="0"/>
            <a:t>Problem</a:t>
          </a:r>
          <a:r>
            <a:rPr lang="en-US" dirty="0"/>
            <a:t>: Cache Eviction</a:t>
          </a:r>
        </a:p>
      </dgm:t>
    </dgm:pt>
    <dgm:pt modelId="{8AD0F6F7-C0C1-40C9-ADA4-898FCFDD45FD}" type="sibTrans" cxnId="{315A0B0C-2452-480D-A4EC-138D7DAA0B37}">
      <dgm:prSet/>
      <dgm:spPr/>
      <dgm:t>
        <a:bodyPr/>
        <a:lstStyle/>
        <a:p>
          <a:endParaRPr lang="en-US"/>
        </a:p>
      </dgm:t>
    </dgm:pt>
    <dgm:pt modelId="{F96DDCBE-0EDB-4C65-BE7D-8DC7DCBA7962}" type="parTrans" cxnId="{315A0B0C-2452-480D-A4EC-138D7DAA0B37}">
      <dgm:prSet/>
      <dgm:spPr/>
      <dgm:t>
        <a:bodyPr/>
        <a:lstStyle/>
        <a:p>
          <a:endParaRPr lang="en-US"/>
        </a:p>
      </dgm:t>
    </dgm:pt>
    <dgm:pt modelId="{4E8D47F9-FE34-4FAF-A367-F196B376B973}">
      <dgm:prSet phldrT="[Text]" phldr="0"/>
      <dgm:spPr/>
      <dgm:t>
        <a:bodyPr/>
        <a:lstStyle/>
        <a:p>
          <a:r>
            <a:rPr lang="en-US" dirty="0"/>
            <a:t>Feedback is not persisted if the plan is evicted from cache or failover</a:t>
          </a:r>
        </a:p>
      </dgm:t>
    </dgm:pt>
    <dgm:pt modelId="{1E3C7AB8-1C23-4A00-8DE4-321D8EA0C88E}" type="sibTrans" cxnId="{088202BB-006D-40C0-B259-651812E31676}">
      <dgm:prSet/>
      <dgm:spPr/>
      <dgm:t>
        <a:bodyPr/>
        <a:lstStyle/>
        <a:p>
          <a:endParaRPr lang="en-US"/>
        </a:p>
      </dgm:t>
    </dgm:pt>
    <dgm:pt modelId="{91571845-7B66-4F17-A30F-025308713C63}" type="parTrans" cxnId="{088202BB-006D-40C0-B259-651812E31676}">
      <dgm:prSet/>
      <dgm:spPr/>
      <dgm:t>
        <a:bodyPr/>
        <a:lstStyle/>
        <a:p>
          <a:endParaRPr lang="en-US"/>
        </a:p>
      </dgm:t>
    </dgm:pt>
    <dgm:pt modelId="{3AFF19C7-4FB7-4981-963D-FB9B0279F4D0}">
      <dgm:prSet phldrT="[Text]" phldr="0"/>
      <dgm:spPr/>
      <dgm:t>
        <a:bodyPr/>
        <a:lstStyle/>
        <a:p>
          <a:r>
            <a:rPr lang="en-US" b="1" dirty="0"/>
            <a:t>Solution</a:t>
          </a:r>
          <a:r>
            <a:rPr lang="en-US" dirty="0"/>
            <a:t>: Persist the feedback</a:t>
          </a:r>
        </a:p>
      </dgm:t>
    </dgm:pt>
    <dgm:pt modelId="{62A27C36-1C92-466C-B34E-C1CEE9C58A9D}" type="sibTrans" cxnId="{2E38E30E-9964-4762-97CE-187452CD21A7}">
      <dgm:prSet/>
      <dgm:spPr/>
      <dgm:t>
        <a:bodyPr/>
        <a:lstStyle/>
        <a:p>
          <a:endParaRPr lang="en-US"/>
        </a:p>
      </dgm:t>
    </dgm:pt>
    <dgm:pt modelId="{D1429087-B8B3-4203-9EC2-F38E7180D623}" type="parTrans" cxnId="{2E38E30E-9964-4762-97CE-187452CD21A7}">
      <dgm:prSet/>
      <dgm:spPr/>
      <dgm:t>
        <a:bodyPr/>
        <a:lstStyle/>
        <a:p>
          <a:endParaRPr lang="en-US"/>
        </a:p>
      </dgm:t>
    </dgm:pt>
    <dgm:pt modelId="{1A5DC024-C98D-41AC-934B-0F9055B82568}">
      <dgm:prSet phldrT="[Text]" phldr="0"/>
      <dgm:spPr/>
      <dgm:t>
        <a:bodyPr/>
        <a:lstStyle/>
        <a:p>
          <a:r>
            <a:rPr lang="en-US" dirty="0"/>
            <a:t>Persist the memory grant feedback in the Query Store</a:t>
          </a:r>
        </a:p>
      </dgm:t>
    </dgm:pt>
    <dgm:pt modelId="{EF2650D1-43E7-4C51-8A3E-0B42066783AF}" type="sibTrans" cxnId="{95016AE8-7DF7-42F3-A62A-DE0E7C123201}">
      <dgm:prSet/>
      <dgm:spPr/>
      <dgm:t>
        <a:bodyPr/>
        <a:lstStyle/>
        <a:p>
          <a:endParaRPr lang="en-US"/>
        </a:p>
      </dgm:t>
    </dgm:pt>
    <dgm:pt modelId="{F3469BB2-0E36-4A27-9F3C-05231FFDA38E}" type="parTrans" cxnId="{95016AE8-7DF7-42F3-A62A-DE0E7C123201}">
      <dgm:prSet/>
      <dgm:spPr/>
      <dgm:t>
        <a:bodyPr/>
        <a:lstStyle/>
        <a:p>
          <a:endParaRPr lang="en-US"/>
        </a:p>
      </dgm:t>
    </dgm:pt>
    <dgm:pt modelId="{4F600090-5BAB-473F-B334-3A385E20ACEA}">
      <dgm:prSet phldrT="[Text]" phldr="0"/>
      <dgm:spPr/>
      <dgm:t>
        <a:bodyPr/>
        <a:lstStyle/>
        <a:p>
          <a:r>
            <a:rPr lang="en-US" dirty="0"/>
            <a:t>Record of how to adjust memory is lost and must re-learn</a:t>
          </a:r>
        </a:p>
      </dgm:t>
    </dgm:pt>
    <dgm:pt modelId="{C138B3FA-E70C-47D7-9DA9-29CCB72ADC84}" type="parTrans" cxnId="{2B3CFE18-2649-4DA7-BD88-1D36C1AC94A8}">
      <dgm:prSet/>
      <dgm:spPr/>
      <dgm:t>
        <a:bodyPr/>
        <a:lstStyle/>
        <a:p>
          <a:endParaRPr lang="en-US"/>
        </a:p>
      </dgm:t>
    </dgm:pt>
    <dgm:pt modelId="{36A8EB91-5E96-4EB3-9D9F-FA9755855675}" type="sibTrans" cxnId="{2B3CFE18-2649-4DA7-BD88-1D36C1AC94A8}">
      <dgm:prSet/>
      <dgm:spPr/>
      <dgm:t>
        <a:bodyPr/>
        <a:lstStyle/>
        <a:p>
          <a:endParaRPr lang="en-US"/>
        </a:p>
      </dgm:t>
    </dgm:pt>
    <dgm:pt modelId="{5ED34BAA-C7E5-4066-9CD9-FA970AFF11AF}">
      <dgm:prSet phldrT="[Text]" phldr="0"/>
      <dgm:spPr/>
      <dgm:t>
        <a:bodyPr/>
        <a:lstStyle/>
        <a:p>
          <a:r>
            <a:rPr lang="en-US" b="1" dirty="0"/>
            <a:t>Problem</a:t>
          </a:r>
          <a:r>
            <a:rPr lang="en-US" dirty="0"/>
            <a:t>: Oscillating Feedback</a:t>
          </a:r>
        </a:p>
      </dgm:t>
    </dgm:pt>
    <dgm:pt modelId="{E3E71965-52C6-47F1-AF69-907C59905B88}" type="parTrans" cxnId="{7BA81A32-85DB-4B84-947A-DF8399A53FB2}">
      <dgm:prSet/>
      <dgm:spPr/>
      <dgm:t>
        <a:bodyPr/>
        <a:lstStyle/>
        <a:p>
          <a:endParaRPr lang="en-US"/>
        </a:p>
      </dgm:t>
    </dgm:pt>
    <dgm:pt modelId="{F5EBE247-AFE9-4A75-BBB3-FF02AE451022}" type="sibTrans" cxnId="{7BA81A32-85DB-4B84-947A-DF8399A53FB2}">
      <dgm:prSet/>
      <dgm:spPr/>
      <dgm:t>
        <a:bodyPr/>
        <a:lstStyle/>
        <a:p>
          <a:endParaRPr lang="en-US"/>
        </a:p>
      </dgm:t>
    </dgm:pt>
    <dgm:pt modelId="{10D1CA0D-6AEE-4CBF-AE7F-8F87F4944674}">
      <dgm:prSet phldrT="[Text]" phldr="0"/>
      <dgm:spPr/>
      <dgm:t>
        <a:bodyPr/>
        <a:lstStyle/>
        <a:p>
          <a:r>
            <a:rPr lang="en-US" dirty="0"/>
            <a:t>Memory grants adjusted based on last feedback</a:t>
          </a:r>
        </a:p>
      </dgm:t>
    </dgm:pt>
    <dgm:pt modelId="{9177F9DA-1FEE-47EA-991F-A0DED8F64912}" type="parTrans" cxnId="{1957B794-5724-4C52-AC9F-28EFE61109FD}">
      <dgm:prSet/>
      <dgm:spPr/>
      <dgm:t>
        <a:bodyPr/>
        <a:lstStyle/>
        <a:p>
          <a:endParaRPr lang="en-US"/>
        </a:p>
      </dgm:t>
    </dgm:pt>
    <dgm:pt modelId="{0B4C71E5-53A6-462E-95AC-3D0D1578DB6B}" type="sibTrans" cxnId="{1957B794-5724-4C52-AC9F-28EFE61109FD}">
      <dgm:prSet/>
      <dgm:spPr/>
      <dgm:t>
        <a:bodyPr/>
        <a:lstStyle/>
        <a:p>
          <a:endParaRPr lang="en-US"/>
        </a:p>
      </dgm:t>
    </dgm:pt>
    <dgm:pt modelId="{74BB1DAA-6247-4D77-A12F-F1E51A02E086}">
      <dgm:prSet phldrT="[Text]" phldr="0"/>
      <dgm:spPr/>
      <dgm:t>
        <a:bodyPr/>
        <a:lstStyle/>
        <a:p>
          <a:r>
            <a:rPr lang="en-US" dirty="0"/>
            <a:t>Parameter Sensitive Plans could change feedback </a:t>
          </a:r>
        </a:p>
      </dgm:t>
    </dgm:pt>
    <dgm:pt modelId="{C64427C3-B6B3-4153-B517-876A25B3A1F1}" type="parTrans" cxnId="{00B9A298-1454-4A73-9C23-47E51CAD824D}">
      <dgm:prSet/>
      <dgm:spPr/>
      <dgm:t>
        <a:bodyPr/>
        <a:lstStyle/>
        <a:p>
          <a:endParaRPr lang="en-US"/>
        </a:p>
      </dgm:t>
    </dgm:pt>
    <dgm:pt modelId="{A9390738-1204-4B82-BA1D-CF13C5CAF3D1}" type="sibTrans" cxnId="{00B9A298-1454-4A73-9C23-47E51CAD824D}">
      <dgm:prSet/>
      <dgm:spPr/>
      <dgm:t>
        <a:bodyPr/>
        <a:lstStyle/>
        <a:p>
          <a:endParaRPr lang="en-US"/>
        </a:p>
      </dgm:t>
    </dgm:pt>
    <dgm:pt modelId="{AFA84A42-A7DF-43B6-BCED-687E85E14A3F}">
      <dgm:prSet phldrT="[Text]" phldr="0"/>
      <dgm:spPr/>
      <dgm:t>
        <a:bodyPr/>
        <a:lstStyle/>
        <a:p>
          <a:r>
            <a:rPr lang="en-US" b="1" dirty="0"/>
            <a:t>Solution</a:t>
          </a:r>
          <a:r>
            <a:rPr lang="en-US" dirty="0"/>
            <a:t>: Percentile-based calculation</a:t>
          </a:r>
        </a:p>
      </dgm:t>
    </dgm:pt>
    <dgm:pt modelId="{0BB7A3CF-C5BF-466E-843A-5867BC833EBC}" type="parTrans" cxnId="{B743F88F-D4D4-47BD-B068-E41891CB4A4C}">
      <dgm:prSet/>
      <dgm:spPr/>
      <dgm:t>
        <a:bodyPr/>
        <a:lstStyle/>
        <a:p>
          <a:endParaRPr lang="en-US"/>
        </a:p>
      </dgm:t>
    </dgm:pt>
    <dgm:pt modelId="{35BC54AD-169E-4496-BCEC-C06B39BC29CD}" type="sibTrans" cxnId="{B743F88F-D4D4-47BD-B068-E41891CB4A4C}">
      <dgm:prSet/>
      <dgm:spPr/>
      <dgm:t>
        <a:bodyPr/>
        <a:lstStyle/>
        <a:p>
          <a:endParaRPr lang="en-US"/>
        </a:p>
      </dgm:t>
    </dgm:pt>
    <dgm:pt modelId="{B88D9BD3-56D5-4B11-9BC4-BF863CAB3DBF}">
      <dgm:prSet phldrT="[Text]" phldr="0"/>
      <dgm:spPr/>
      <dgm:t>
        <a:bodyPr/>
        <a:lstStyle/>
        <a:p>
          <a:r>
            <a:rPr lang="en-US" dirty="0"/>
            <a:t>Smooths the grant size values based on execution usage history</a:t>
          </a:r>
        </a:p>
      </dgm:t>
    </dgm:pt>
    <dgm:pt modelId="{317B1E93-C5B8-437E-AB70-965E240DCDBF}" type="parTrans" cxnId="{F68E4702-2BD3-42FE-B95E-3126DB3E91B9}">
      <dgm:prSet/>
      <dgm:spPr/>
      <dgm:t>
        <a:bodyPr/>
        <a:lstStyle/>
        <a:p>
          <a:endParaRPr lang="en-US"/>
        </a:p>
      </dgm:t>
    </dgm:pt>
    <dgm:pt modelId="{7981D048-8177-4976-9C22-C96006E42AD3}" type="sibTrans" cxnId="{F68E4702-2BD3-42FE-B95E-3126DB3E91B9}">
      <dgm:prSet/>
      <dgm:spPr/>
      <dgm:t>
        <a:bodyPr/>
        <a:lstStyle/>
        <a:p>
          <a:endParaRPr lang="en-US"/>
        </a:p>
      </dgm:t>
    </dgm:pt>
    <dgm:pt modelId="{B902A285-C333-498D-BE6D-38566E131EA4}" type="pres">
      <dgm:prSet presAssocID="{5CAC6E89-8D61-41CE-B485-D446E81BC557}" presName="linear" presStyleCnt="0">
        <dgm:presLayoutVars>
          <dgm:dir/>
          <dgm:animLvl val="lvl"/>
          <dgm:resizeHandles val="exact"/>
        </dgm:presLayoutVars>
      </dgm:prSet>
      <dgm:spPr/>
    </dgm:pt>
    <dgm:pt modelId="{5AE72953-0E1D-41F4-A43D-0511D75F9A4B}" type="pres">
      <dgm:prSet presAssocID="{FE5806CA-90C0-4767-B9A2-2F5EE4877C19}" presName="parentLin" presStyleCnt="0"/>
      <dgm:spPr/>
    </dgm:pt>
    <dgm:pt modelId="{D4903FD3-EBAD-47DA-895D-4E6DB67DDCB3}" type="pres">
      <dgm:prSet presAssocID="{FE5806CA-90C0-4767-B9A2-2F5EE4877C19}" presName="parentLeftMargin" presStyleLbl="node1" presStyleIdx="0" presStyleCnt="4"/>
      <dgm:spPr/>
    </dgm:pt>
    <dgm:pt modelId="{89DAF6F2-441E-411B-A709-5BCA0EF94829}" type="pres">
      <dgm:prSet presAssocID="{FE5806CA-90C0-4767-B9A2-2F5EE4877C19}" presName="parentText" presStyleLbl="node1" presStyleIdx="0" presStyleCnt="4">
        <dgm:presLayoutVars>
          <dgm:chMax val="0"/>
          <dgm:bulletEnabled val="1"/>
        </dgm:presLayoutVars>
      </dgm:prSet>
      <dgm:spPr/>
    </dgm:pt>
    <dgm:pt modelId="{760121C0-A62B-41E7-8FB4-DB16D386612C}" type="pres">
      <dgm:prSet presAssocID="{FE5806CA-90C0-4767-B9A2-2F5EE4877C19}" presName="negativeSpace" presStyleCnt="0"/>
      <dgm:spPr/>
    </dgm:pt>
    <dgm:pt modelId="{124365EB-2ED1-4CFC-8BFA-0B60CA5A2F96}" type="pres">
      <dgm:prSet presAssocID="{FE5806CA-90C0-4767-B9A2-2F5EE4877C19}" presName="childText" presStyleLbl="conFgAcc1" presStyleIdx="0" presStyleCnt="4">
        <dgm:presLayoutVars>
          <dgm:bulletEnabled val="1"/>
        </dgm:presLayoutVars>
      </dgm:prSet>
      <dgm:spPr/>
    </dgm:pt>
    <dgm:pt modelId="{F7B24473-248A-4D66-A263-673091B41BFD}" type="pres">
      <dgm:prSet presAssocID="{8AD0F6F7-C0C1-40C9-ADA4-898FCFDD45FD}" presName="spaceBetweenRectangles" presStyleCnt="0"/>
      <dgm:spPr/>
    </dgm:pt>
    <dgm:pt modelId="{C3B92B33-30E9-4FED-9EB0-7361FC75A8B0}" type="pres">
      <dgm:prSet presAssocID="{3AFF19C7-4FB7-4981-963D-FB9B0279F4D0}" presName="parentLin" presStyleCnt="0"/>
      <dgm:spPr/>
    </dgm:pt>
    <dgm:pt modelId="{D7014629-DD70-4396-AF84-AB072E1F3799}" type="pres">
      <dgm:prSet presAssocID="{3AFF19C7-4FB7-4981-963D-FB9B0279F4D0}" presName="parentLeftMargin" presStyleLbl="node1" presStyleIdx="0" presStyleCnt="4"/>
      <dgm:spPr/>
    </dgm:pt>
    <dgm:pt modelId="{6B0312C1-241B-43B9-994D-378BC3536E11}" type="pres">
      <dgm:prSet presAssocID="{3AFF19C7-4FB7-4981-963D-FB9B0279F4D0}" presName="parentText" presStyleLbl="node1" presStyleIdx="1" presStyleCnt="4">
        <dgm:presLayoutVars>
          <dgm:chMax val="0"/>
          <dgm:bulletEnabled val="1"/>
        </dgm:presLayoutVars>
      </dgm:prSet>
      <dgm:spPr/>
    </dgm:pt>
    <dgm:pt modelId="{FAE20AE1-8295-4B87-BBB7-1BD195346232}" type="pres">
      <dgm:prSet presAssocID="{3AFF19C7-4FB7-4981-963D-FB9B0279F4D0}" presName="negativeSpace" presStyleCnt="0"/>
      <dgm:spPr/>
    </dgm:pt>
    <dgm:pt modelId="{E70FDF43-97D4-43F1-A166-CC843657E64A}" type="pres">
      <dgm:prSet presAssocID="{3AFF19C7-4FB7-4981-963D-FB9B0279F4D0}" presName="childText" presStyleLbl="conFgAcc1" presStyleIdx="1" presStyleCnt="4">
        <dgm:presLayoutVars>
          <dgm:bulletEnabled val="1"/>
        </dgm:presLayoutVars>
      </dgm:prSet>
      <dgm:spPr/>
    </dgm:pt>
    <dgm:pt modelId="{AA977560-ADBD-4641-8BB8-9AA80FE5EC2D}" type="pres">
      <dgm:prSet presAssocID="{62A27C36-1C92-466C-B34E-C1CEE9C58A9D}" presName="spaceBetweenRectangles" presStyleCnt="0"/>
      <dgm:spPr/>
    </dgm:pt>
    <dgm:pt modelId="{3E2BB336-47B5-40A2-84E6-14A9FEC3DE0E}" type="pres">
      <dgm:prSet presAssocID="{5ED34BAA-C7E5-4066-9CD9-FA970AFF11AF}" presName="parentLin" presStyleCnt="0"/>
      <dgm:spPr/>
    </dgm:pt>
    <dgm:pt modelId="{27473D55-6DA4-49E2-9A7B-A2710FEA6ECB}" type="pres">
      <dgm:prSet presAssocID="{5ED34BAA-C7E5-4066-9CD9-FA970AFF11AF}" presName="parentLeftMargin" presStyleLbl="node1" presStyleIdx="1" presStyleCnt="4"/>
      <dgm:spPr/>
    </dgm:pt>
    <dgm:pt modelId="{4A5C3DE5-1DE8-48D4-9600-4DF71555FC36}" type="pres">
      <dgm:prSet presAssocID="{5ED34BAA-C7E5-4066-9CD9-FA970AFF11AF}" presName="parentText" presStyleLbl="node1" presStyleIdx="2" presStyleCnt="4">
        <dgm:presLayoutVars>
          <dgm:chMax val="0"/>
          <dgm:bulletEnabled val="1"/>
        </dgm:presLayoutVars>
      </dgm:prSet>
      <dgm:spPr/>
    </dgm:pt>
    <dgm:pt modelId="{0A232F61-2F2B-4FCF-B719-5BCF8ABD36FE}" type="pres">
      <dgm:prSet presAssocID="{5ED34BAA-C7E5-4066-9CD9-FA970AFF11AF}" presName="negativeSpace" presStyleCnt="0"/>
      <dgm:spPr/>
    </dgm:pt>
    <dgm:pt modelId="{3C607330-65A2-46F4-B605-9E229960D447}" type="pres">
      <dgm:prSet presAssocID="{5ED34BAA-C7E5-4066-9CD9-FA970AFF11AF}" presName="childText" presStyleLbl="conFgAcc1" presStyleIdx="2" presStyleCnt="4">
        <dgm:presLayoutVars>
          <dgm:bulletEnabled val="1"/>
        </dgm:presLayoutVars>
      </dgm:prSet>
      <dgm:spPr/>
    </dgm:pt>
    <dgm:pt modelId="{6044C499-EB08-4360-8BD2-CACAC295383C}" type="pres">
      <dgm:prSet presAssocID="{F5EBE247-AFE9-4A75-BBB3-FF02AE451022}" presName="spaceBetweenRectangles" presStyleCnt="0"/>
      <dgm:spPr/>
    </dgm:pt>
    <dgm:pt modelId="{6D248F3D-33BB-4274-8946-B3BC8C190578}" type="pres">
      <dgm:prSet presAssocID="{AFA84A42-A7DF-43B6-BCED-687E85E14A3F}" presName="parentLin" presStyleCnt="0"/>
      <dgm:spPr/>
    </dgm:pt>
    <dgm:pt modelId="{85CEC299-A17C-491D-879E-5FF817408DED}" type="pres">
      <dgm:prSet presAssocID="{AFA84A42-A7DF-43B6-BCED-687E85E14A3F}" presName="parentLeftMargin" presStyleLbl="node1" presStyleIdx="2" presStyleCnt="4"/>
      <dgm:spPr/>
    </dgm:pt>
    <dgm:pt modelId="{32A2D360-36C0-494E-954B-FEDE3893F373}" type="pres">
      <dgm:prSet presAssocID="{AFA84A42-A7DF-43B6-BCED-687E85E14A3F}" presName="parentText" presStyleLbl="node1" presStyleIdx="3" presStyleCnt="4">
        <dgm:presLayoutVars>
          <dgm:chMax val="0"/>
          <dgm:bulletEnabled val="1"/>
        </dgm:presLayoutVars>
      </dgm:prSet>
      <dgm:spPr/>
    </dgm:pt>
    <dgm:pt modelId="{23AD16C3-9D9A-44CB-BCA0-D4391C58D547}" type="pres">
      <dgm:prSet presAssocID="{AFA84A42-A7DF-43B6-BCED-687E85E14A3F}" presName="negativeSpace" presStyleCnt="0"/>
      <dgm:spPr/>
    </dgm:pt>
    <dgm:pt modelId="{7F7D9184-5CA0-410E-A61D-9721ADBFAFAE}" type="pres">
      <dgm:prSet presAssocID="{AFA84A42-A7DF-43B6-BCED-687E85E14A3F}" presName="childText" presStyleLbl="conFgAcc1" presStyleIdx="3" presStyleCnt="4">
        <dgm:presLayoutVars>
          <dgm:bulletEnabled val="1"/>
        </dgm:presLayoutVars>
      </dgm:prSet>
      <dgm:spPr/>
    </dgm:pt>
  </dgm:ptLst>
  <dgm:cxnLst>
    <dgm:cxn modelId="{F68E4702-2BD3-42FE-B95E-3126DB3E91B9}" srcId="{AFA84A42-A7DF-43B6-BCED-687E85E14A3F}" destId="{B88D9BD3-56D5-4B11-9BC4-BF863CAB3DBF}" srcOrd="0" destOrd="0" parTransId="{317B1E93-C5B8-437E-AB70-965E240DCDBF}" sibTransId="{7981D048-8177-4976-9C22-C96006E42AD3}"/>
    <dgm:cxn modelId="{315A0B0C-2452-480D-A4EC-138D7DAA0B37}" srcId="{5CAC6E89-8D61-41CE-B485-D446E81BC557}" destId="{FE5806CA-90C0-4767-B9A2-2F5EE4877C19}" srcOrd="0" destOrd="0" parTransId="{F96DDCBE-0EDB-4C65-BE7D-8DC7DCBA7962}" sibTransId="{8AD0F6F7-C0C1-40C9-ADA4-898FCFDD45FD}"/>
    <dgm:cxn modelId="{2E38E30E-9964-4762-97CE-187452CD21A7}" srcId="{5CAC6E89-8D61-41CE-B485-D446E81BC557}" destId="{3AFF19C7-4FB7-4981-963D-FB9B0279F4D0}" srcOrd="1" destOrd="0" parTransId="{D1429087-B8B3-4203-9EC2-F38E7180D623}" sibTransId="{62A27C36-1C92-466C-B34E-C1CEE9C58A9D}"/>
    <dgm:cxn modelId="{2B3CFE18-2649-4DA7-BD88-1D36C1AC94A8}" srcId="{FE5806CA-90C0-4767-B9A2-2F5EE4877C19}" destId="{4F600090-5BAB-473F-B334-3A385E20ACEA}" srcOrd="1" destOrd="0" parTransId="{C138B3FA-E70C-47D7-9DA9-29CCB72ADC84}" sibTransId="{36A8EB91-5E96-4EB3-9D9F-FA9755855675}"/>
    <dgm:cxn modelId="{39B1AA30-348F-40A7-A0ED-67CA2FA20EBE}" type="presOf" srcId="{FE5806CA-90C0-4767-B9A2-2F5EE4877C19}" destId="{89DAF6F2-441E-411B-A709-5BCA0EF94829}" srcOrd="1" destOrd="0" presId="urn:microsoft.com/office/officeart/2005/8/layout/list1"/>
    <dgm:cxn modelId="{7BA81A32-85DB-4B84-947A-DF8399A53FB2}" srcId="{5CAC6E89-8D61-41CE-B485-D446E81BC557}" destId="{5ED34BAA-C7E5-4066-9CD9-FA970AFF11AF}" srcOrd="2" destOrd="0" parTransId="{E3E71965-52C6-47F1-AF69-907C59905B88}" sibTransId="{F5EBE247-AFE9-4A75-BBB3-FF02AE451022}"/>
    <dgm:cxn modelId="{BD13F25F-FC2A-48F6-BC9A-849DC4BBD562}" type="presOf" srcId="{5CAC6E89-8D61-41CE-B485-D446E81BC557}" destId="{B902A285-C333-498D-BE6D-38566E131EA4}" srcOrd="0" destOrd="0" presId="urn:microsoft.com/office/officeart/2005/8/layout/list1"/>
    <dgm:cxn modelId="{15B5AB60-E57B-42FC-BF4F-30D539F0014B}" type="presOf" srcId="{74BB1DAA-6247-4D77-A12F-F1E51A02E086}" destId="{3C607330-65A2-46F4-B605-9E229960D447}" srcOrd="0" destOrd="1" presId="urn:microsoft.com/office/officeart/2005/8/layout/list1"/>
    <dgm:cxn modelId="{212E676A-FB90-45D1-AAC2-6B8825DE3FD8}" type="presOf" srcId="{5ED34BAA-C7E5-4066-9CD9-FA970AFF11AF}" destId="{27473D55-6DA4-49E2-9A7B-A2710FEA6ECB}" srcOrd="0" destOrd="0" presId="urn:microsoft.com/office/officeart/2005/8/layout/list1"/>
    <dgm:cxn modelId="{BB80CC54-8992-4DD1-B129-68A2B9E2AD65}" type="presOf" srcId="{1A5DC024-C98D-41AC-934B-0F9055B82568}" destId="{E70FDF43-97D4-43F1-A166-CC843657E64A}" srcOrd="0" destOrd="0" presId="urn:microsoft.com/office/officeart/2005/8/layout/list1"/>
    <dgm:cxn modelId="{24DB0375-3C50-4096-831B-9363FB0F1BBC}" type="presOf" srcId="{3AFF19C7-4FB7-4981-963D-FB9B0279F4D0}" destId="{D7014629-DD70-4396-AF84-AB072E1F3799}" srcOrd="0" destOrd="0" presId="urn:microsoft.com/office/officeart/2005/8/layout/list1"/>
    <dgm:cxn modelId="{101A2488-C020-4429-B5C4-FE1137FD8B00}" type="presOf" srcId="{3AFF19C7-4FB7-4981-963D-FB9B0279F4D0}" destId="{6B0312C1-241B-43B9-994D-378BC3536E11}" srcOrd="1" destOrd="0" presId="urn:microsoft.com/office/officeart/2005/8/layout/list1"/>
    <dgm:cxn modelId="{9D260B8D-CF86-4313-AC56-3D7938B4BA02}" type="presOf" srcId="{10D1CA0D-6AEE-4CBF-AE7F-8F87F4944674}" destId="{3C607330-65A2-46F4-B605-9E229960D447}" srcOrd="0" destOrd="0" presId="urn:microsoft.com/office/officeart/2005/8/layout/list1"/>
    <dgm:cxn modelId="{B743F88F-D4D4-47BD-B068-E41891CB4A4C}" srcId="{5CAC6E89-8D61-41CE-B485-D446E81BC557}" destId="{AFA84A42-A7DF-43B6-BCED-687E85E14A3F}" srcOrd="3" destOrd="0" parTransId="{0BB7A3CF-C5BF-466E-843A-5867BC833EBC}" sibTransId="{35BC54AD-169E-4496-BCEC-C06B39BC29CD}"/>
    <dgm:cxn modelId="{1957B794-5724-4C52-AC9F-28EFE61109FD}" srcId="{5ED34BAA-C7E5-4066-9CD9-FA970AFF11AF}" destId="{10D1CA0D-6AEE-4CBF-AE7F-8F87F4944674}" srcOrd="0" destOrd="0" parTransId="{9177F9DA-1FEE-47EA-991F-A0DED8F64912}" sibTransId="{0B4C71E5-53A6-462E-95AC-3D0D1578DB6B}"/>
    <dgm:cxn modelId="{00B9A298-1454-4A73-9C23-47E51CAD824D}" srcId="{5ED34BAA-C7E5-4066-9CD9-FA970AFF11AF}" destId="{74BB1DAA-6247-4D77-A12F-F1E51A02E086}" srcOrd="1" destOrd="0" parTransId="{C64427C3-B6B3-4153-B517-876A25B3A1F1}" sibTransId="{A9390738-1204-4B82-BA1D-CF13C5CAF3D1}"/>
    <dgm:cxn modelId="{BF63739F-8320-44B8-B02A-4B18087C78F2}" type="presOf" srcId="{4E8D47F9-FE34-4FAF-A367-F196B376B973}" destId="{124365EB-2ED1-4CFC-8BFA-0B60CA5A2F96}" srcOrd="0" destOrd="0" presId="urn:microsoft.com/office/officeart/2005/8/layout/list1"/>
    <dgm:cxn modelId="{371DDEA0-7F39-4BA2-9E86-1C9396B68C7E}" type="presOf" srcId="{FE5806CA-90C0-4767-B9A2-2F5EE4877C19}" destId="{D4903FD3-EBAD-47DA-895D-4E6DB67DDCB3}" srcOrd="0" destOrd="0" presId="urn:microsoft.com/office/officeart/2005/8/layout/list1"/>
    <dgm:cxn modelId="{B770DDA4-4D8C-4E9D-A97D-B9A4BD33D04B}" type="presOf" srcId="{4F600090-5BAB-473F-B334-3A385E20ACEA}" destId="{124365EB-2ED1-4CFC-8BFA-0B60CA5A2F96}" srcOrd="0" destOrd="1" presId="urn:microsoft.com/office/officeart/2005/8/layout/list1"/>
    <dgm:cxn modelId="{31C581B8-A2CF-49BD-AE07-3D4B83EC7332}" type="presOf" srcId="{B88D9BD3-56D5-4B11-9BC4-BF863CAB3DBF}" destId="{7F7D9184-5CA0-410E-A61D-9721ADBFAFAE}" srcOrd="0" destOrd="0" presId="urn:microsoft.com/office/officeart/2005/8/layout/list1"/>
    <dgm:cxn modelId="{088202BB-006D-40C0-B259-651812E31676}" srcId="{FE5806CA-90C0-4767-B9A2-2F5EE4877C19}" destId="{4E8D47F9-FE34-4FAF-A367-F196B376B973}" srcOrd="0" destOrd="0" parTransId="{91571845-7B66-4F17-A30F-025308713C63}" sibTransId="{1E3C7AB8-1C23-4A00-8DE4-321D8EA0C88E}"/>
    <dgm:cxn modelId="{301B4BC0-99EA-4CE0-9872-1E8761DEE1DF}" type="presOf" srcId="{AFA84A42-A7DF-43B6-BCED-687E85E14A3F}" destId="{85CEC299-A17C-491D-879E-5FF817408DED}" srcOrd="0" destOrd="0" presId="urn:microsoft.com/office/officeart/2005/8/layout/list1"/>
    <dgm:cxn modelId="{020E5EC4-C065-4A6C-B935-A541366FDFEC}" type="presOf" srcId="{AFA84A42-A7DF-43B6-BCED-687E85E14A3F}" destId="{32A2D360-36C0-494E-954B-FEDE3893F373}" srcOrd="1" destOrd="0" presId="urn:microsoft.com/office/officeart/2005/8/layout/list1"/>
    <dgm:cxn modelId="{95016AE8-7DF7-42F3-A62A-DE0E7C123201}" srcId="{3AFF19C7-4FB7-4981-963D-FB9B0279F4D0}" destId="{1A5DC024-C98D-41AC-934B-0F9055B82568}" srcOrd="0" destOrd="0" parTransId="{F3469BB2-0E36-4A27-9F3C-05231FFDA38E}" sibTransId="{EF2650D1-43E7-4C51-8A3E-0B42066783AF}"/>
    <dgm:cxn modelId="{88EB15F1-DFD8-43DF-96E7-E3AF99B59909}" type="presOf" srcId="{5ED34BAA-C7E5-4066-9CD9-FA970AFF11AF}" destId="{4A5C3DE5-1DE8-48D4-9600-4DF71555FC36}" srcOrd="1" destOrd="0" presId="urn:microsoft.com/office/officeart/2005/8/layout/list1"/>
    <dgm:cxn modelId="{03C56002-CFE6-4902-A1F6-404AD2FC0EA3}" type="presParOf" srcId="{B902A285-C333-498D-BE6D-38566E131EA4}" destId="{5AE72953-0E1D-41F4-A43D-0511D75F9A4B}" srcOrd="0" destOrd="0" presId="urn:microsoft.com/office/officeart/2005/8/layout/list1"/>
    <dgm:cxn modelId="{03152CCF-CF56-41CE-97B7-D6D1496F8247}" type="presParOf" srcId="{5AE72953-0E1D-41F4-A43D-0511D75F9A4B}" destId="{D4903FD3-EBAD-47DA-895D-4E6DB67DDCB3}" srcOrd="0" destOrd="0" presId="urn:microsoft.com/office/officeart/2005/8/layout/list1"/>
    <dgm:cxn modelId="{E09ABD88-6DD2-4D8F-878C-A4A3EE1023EA}" type="presParOf" srcId="{5AE72953-0E1D-41F4-A43D-0511D75F9A4B}" destId="{89DAF6F2-441E-411B-A709-5BCA0EF94829}" srcOrd="1" destOrd="0" presId="urn:microsoft.com/office/officeart/2005/8/layout/list1"/>
    <dgm:cxn modelId="{D3F9A7AA-B071-4BE3-A2AE-10D2C4F2ED98}" type="presParOf" srcId="{B902A285-C333-498D-BE6D-38566E131EA4}" destId="{760121C0-A62B-41E7-8FB4-DB16D386612C}" srcOrd="1" destOrd="0" presId="urn:microsoft.com/office/officeart/2005/8/layout/list1"/>
    <dgm:cxn modelId="{CA415FCA-9ED4-4CC4-BA3C-2A8588374D78}" type="presParOf" srcId="{B902A285-C333-498D-BE6D-38566E131EA4}" destId="{124365EB-2ED1-4CFC-8BFA-0B60CA5A2F96}" srcOrd="2" destOrd="0" presId="urn:microsoft.com/office/officeart/2005/8/layout/list1"/>
    <dgm:cxn modelId="{FC951384-840E-4DCE-98BF-EB6010449E09}" type="presParOf" srcId="{B902A285-C333-498D-BE6D-38566E131EA4}" destId="{F7B24473-248A-4D66-A263-673091B41BFD}" srcOrd="3" destOrd="0" presId="urn:microsoft.com/office/officeart/2005/8/layout/list1"/>
    <dgm:cxn modelId="{5B63EFFF-98A2-4E49-A7EE-C4F899414CD9}" type="presParOf" srcId="{B902A285-C333-498D-BE6D-38566E131EA4}" destId="{C3B92B33-30E9-4FED-9EB0-7361FC75A8B0}" srcOrd="4" destOrd="0" presId="urn:microsoft.com/office/officeart/2005/8/layout/list1"/>
    <dgm:cxn modelId="{DCC90457-074F-49B4-8827-EC81CFC63B64}" type="presParOf" srcId="{C3B92B33-30E9-4FED-9EB0-7361FC75A8B0}" destId="{D7014629-DD70-4396-AF84-AB072E1F3799}" srcOrd="0" destOrd="0" presId="urn:microsoft.com/office/officeart/2005/8/layout/list1"/>
    <dgm:cxn modelId="{4006C4AB-26B6-45F4-884C-F0507B5414C1}" type="presParOf" srcId="{C3B92B33-30E9-4FED-9EB0-7361FC75A8B0}" destId="{6B0312C1-241B-43B9-994D-378BC3536E11}" srcOrd="1" destOrd="0" presId="urn:microsoft.com/office/officeart/2005/8/layout/list1"/>
    <dgm:cxn modelId="{F53F38D2-7191-43B7-ABCA-DD132064D178}" type="presParOf" srcId="{B902A285-C333-498D-BE6D-38566E131EA4}" destId="{FAE20AE1-8295-4B87-BBB7-1BD195346232}" srcOrd="5" destOrd="0" presId="urn:microsoft.com/office/officeart/2005/8/layout/list1"/>
    <dgm:cxn modelId="{6241E5A5-4C68-4D80-B25E-E18C92602D95}" type="presParOf" srcId="{B902A285-C333-498D-BE6D-38566E131EA4}" destId="{E70FDF43-97D4-43F1-A166-CC843657E64A}" srcOrd="6" destOrd="0" presId="urn:microsoft.com/office/officeart/2005/8/layout/list1"/>
    <dgm:cxn modelId="{084877D3-E7A6-446E-B60D-2FC0BF85AB05}" type="presParOf" srcId="{B902A285-C333-498D-BE6D-38566E131EA4}" destId="{AA977560-ADBD-4641-8BB8-9AA80FE5EC2D}" srcOrd="7" destOrd="0" presId="urn:microsoft.com/office/officeart/2005/8/layout/list1"/>
    <dgm:cxn modelId="{E3E7214A-8586-4D1C-B1C4-5B62A2416502}" type="presParOf" srcId="{B902A285-C333-498D-BE6D-38566E131EA4}" destId="{3E2BB336-47B5-40A2-84E6-14A9FEC3DE0E}" srcOrd="8" destOrd="0" presId="urn:microsoft.com/office/officeart/2005/8/layout/list1"/>
    <dgm:cxn modelId="{2E80224B-9253-447B-A35E-6C8BA720CAA6}" type="presParOf" srcId="{3E2BB336-47B5-40A2-84E6-14A9FEC3DE0E}" destId="{27473D55-6DA4-49E2-9A7B-A2710FEA6ECB}" srcOrd="0" destOrd="0" presId="urn:microsoft.com/office/officeart/2005/8/layout/list1"/>
    <dgm:cxn modelId="{7B54089F-C165-4497-A2C5-EE55AE85772E}" type="presParOf" srcId="{3E2BB336-47B5-40A2-84E6-14A9FEC3DE0E}" destId="{4A5C3DE5-1DE8-48D4-9600-4DF71555FC36}" srcOrd="1" destOrd="0" presId="urn:microsoft.com/office/officeart/2005/8/layout/list1"/>
    <dgm:cxn modelId="{93856536-32E1-4F9A-85D3-E27E334E0ABA}" type="presParOf" srcId="{B902A285-C333-498D-BE6D-38566E131EA4}" destId="{0A232F61-2F2B-4FCF-B719-5BCF8ABD36FE}" srcOrd="9" destOrd="0" presId="urn:microsoft.com/office/officeart/2005/8/layout/list1"/>
    <dgm:cxn modelId="{318D3317-135C-4EF3-8324-7E71171B3720}" type="presParOf" srcId="{B902A285-C333-498D-BE6D-38566E131EA4}" destId="{3C607330-65A2-46F4-B605-9E229960D447}" srcOrd="10" destOrd="0" presId="urn:microsoft.com/office/officeart/2005/8/layout/list1"/>
    <dgm:cxn modelId="{9357FB32-68A6-44BF-B4F1-250F2D3BDE13}" type="presParOf" srcId="{B902A285-C333-498D-BE6D-38566E131EA4}" destId="{6044C499-EB08-4360-8BD2-CACAC295383C}" srcOrd="11" destOrd="0" presId="urn:microsoft.com/office/officeart/2005/8/layout/list1"/>
    <dgm:cxn modelId="{1BC53EFE-70EC-46A0-BF36-6C0E7DB03CF9}" type="presParOf" srcId="{B902A285-C333-498D-BE6D-38566E131EA4}" destId="{6D248F3D-33BB-4274-8946-B3BC8C190578}" srcOrd="12" destOrd="0" presId="urn:microsoft.com/office/officeart/2005/8/layout/list1"/>
    <dgm:cxn modelId="{4C189ACD-B2C4-43CA-997A-B2C07638327E}" type="presParOf" srcId="{6D248F3D-33BB-4274-8946-B3BC8C190578}" destId="{85CEC299-A17C-491D-879E-5FF817408DED}" srcOrd="0" destOrd="0" presId="urn:microsoft.com/office/officeart/2005/8/layout/list1"/>
    <dgm:cxn modelId="{600CD2A5-A200-461A-BDE6-9971C3D107B0}" type="presParOf" srcId="{6D248F3D-33BB-4274-8946-B3BC8C190578}" destId="{32A2D360-36C0-494E-954B-FEDE3893F373}" srcOrd="1" destOrd="0" presId="urn:microsoft.com/office/officeart/2005/8/layout/list1"/>
    <dgm:cxn modelId="{34FD7122-6322-46F5-9CFE-17A085DDF2B2}" type="presParOf" srcId="{B902A285-C333-498D-BE6D-38566E131EA4}" destId="{23AD16C3-9D9A-44CB-BCA0-D4391C58D547}" srcOrd="13" destOrd="0" presId="urn:microsoft.com/office/officeart/2005/8/layout/list1"/>
    <dgm:cxn modelId="{60BFA088-C7D1-4BC2-9F0A-30AB5868F753}" type="presParOf" srcId="{B902A285-C333-498D-BE6D-38566E131EA4}" destId="{7F7D9184-5CA0-410E-A61D-9721ADBFAFAE}" srcOrd="14"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CD5CFD3-BDE6-464E-A6B2-75C739BA359E}" type="asst">
      <dgm:prSet phldrT="[Text]"/>
      <dgm:spPr>
        <a:solidFill>
          <a:schemeClr val="tx2">
            <a:lumMod val="60000"/>
            <a:lumOff val="40000"/>
          </a:schemeClr>
        </a:solidFill>
      </dgm:spPr>
      <dgm:t>
        <a:bodyPr/>
        <a:lstStyle/>
        <a:p>
          <a:r>
            <a:rPr lang="en-US" dirty="0"/>
            <a:t>Optimized Plan Forcing</a:t>
          </a:r>
        </a:p>
      </dgm:t>
    </dgm:pt>
    <dgm:pt modelId="{4ADED6B5-E565-4820-AA0B-8E50119B2A68}" type="parTrans" cxnId="{31898D56-DC85-4676-B4A1-43FA0559E339}">
      <dgm:prSet/>
      <dgm:spPr/>
      <dgm:t>
        <a:bodyPr/>
        <a:lstStyle/>
        <a:p>
          <a:endParaRPr lang="en-US"/>
        </a:p>
      </dgm:t>
    </dgm:pt>
    <dgm:pt modelId="{2787EFF7-F677-4D90-BF2B-4CB2E5C89949}" type="sibTrans" cxnId="{31898D56-DC85-4676-B4A1-43FA0559E33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F82B889D-DE37-40F0-8FFB-E4677B4D6302}" type="pres">
      <dgm:prSet presAssocID="{4ADED6B5-E565-4820-AA0B-8E50119B2A68}" presName="Name19" presStyleLbl="parChTrans1D2" presStyleIdx="5" presStyleCnt="7"/>
      <dgm:spPr/>
    </dgm:pt>
    <dgm:pt modelId="{C73E9EF3-3718-4F35-84CF-58DA2AEB4ADB}" type="pres">
      <dgm:prSet presAssocID="{3CD5CFD3-BDE6-464E-A6B2-75C739BA359E}" presName="Name21" presStyleCnt="0"/>
      <dgm:spPr/>
    </dgm:pt>
    <dgm:pt modelId="{A3135B42-D037-4853-9860-012953D934F7}" type="pres">
      <dgm:prSet presAssocID="{3CD5CFD3-BDE6-464E-A6B2-75C739BA359E}" presName="level2Shape" presStyleLbl="asst1" presStyleIdx="6" presStyleCnt="8"/>
      <dgm:spPr/>
    </dgm:pt>
    <dgm:pt modelId="{290BC9F3-5981-4A9D-8B4A-A1A33732E062}" type="pres">
      <dgm:prSet presAssocID="{3CD5CFD3-BDE6-464E-A6B2-75C739BA359E}"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31898D56-DC85-4676-B4A1-43FA0559E339}" srcId="{EC5624F3-2170-43DC-97A6-A153AC2072F1}" destId="{3CD5CFD3-BDE6-464E-A6B2-75C739BA359E}" srcOrd="5" destOrd="0" parTransId="{4ADED6B5-E565-4820-AA0B-8E50119B2A68}" sibTransId="{2787EFF7-F677-4D90-BF2B-4CB2E5C89949}"/>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D586C2C9-302C-44B9-B877-A5D71B695F8B}" type="presOf" srcId="{4ADED6B5-E565-4820-AA0B-8E50119B2A68}" destId="{F82B889D-DE37-40F0-8FFB-E4677B4D6302}"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D200B0F0-AB86-4895-AE73-03EF4EF2AEEF}" type="presOf" srcId="{3CD5CFD3-BDE6-464E-A6B2-75C739BA359E}" destId="{A3135B42-D037-4853-9860-012953D934F7}"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49F95AB1-A69F-439E-ACE0-6EC000374AE4}" type="presParOf" srcId="{A65EEE17-B142-4395-9440-82681C1ADA87}" destId="{F82B889D-DE37-40F0-8FFB-E4677B4D6302}" srcOrd="10" destOrd="0" presId="urn:microsoft.com/office/officeart/2005/8/layout/hierarchy6"/>
    <dgm:cxn modelId="{6227FCCF-470D-452C-9848-907FE9A09222}" type="presParOf" srcId="{A65EEE17-B142-4395-9440-82681C1ADA87}" destId="{C73E9EF3-3718-4F35-84CF-58DA2AEB4ADB}" srcOrd="11" destOrd="0" presId="urn:microsoft.com/office/officeart/2005/8/layout/hierarchy6"/>
    <dgm:cxn modelId="{30FD2FAE-F065-49CD-8BF7-406A95F3A50A}" type="presParOf" srcId="{C73E9EF3-3718-4F35-84CF-58DA2AEB4ADB}" destId="{A3135B42-D037-4853-9860-012953D934F7}" srcOrd="0" destOrd="0" presId="urn:microsoft.com/office/officeart/2005/8/layout/hierarchy6"/>
    <dgm:cxn modelId="{E0243B31-5ECF-4B7E-85A8-87D41D48A176}" type="presParOf" srcId="{C73E9EF3-3718-4F35-84CF-58DA2AEB4ADB}" destId="{290BC9F3-5981-4A9D-8B4A-A1A33732E062}"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BFA158E-C0B2-4491-A478-D35EA9CB2E8C}" type="doc">
      <dgm:prSet loTypeId="urn:microsoft.com/office/officeart/2005/8/layout/vList5" loCatId="list" qsTypeId="urn:microsoft.com/office/officeart/2005/8/quickstyle/simple1" qsCatId="simple" csTypeId="urn:microsoft.com/office/officeart/2005/8/colors/accent4_1" csCatId="accent4"/>
      <dgm:spPr/>
      <dgm:t>
        <a:bodyPr/>
        <a:lstStyle/>
        <a:p>
          <a:endParaRPr lang="en-US"/>
        </a:p>
      </dgm:t>
    </dgm:pt>
    <dgm:pt modelId="{7C1BA52E-682C-46B6-B49B-7EAADCFF842C}">
      <dgm:prSet/>
      <dgm:spPr/>
      <dgm:t>
        <a:bodyPr/>
        <a:lstStyle/>
        <a:p>
          <a:r>
            <a:rPr lang="en-US" b="0" i="0" baseline="0"/>
            <a:t>For SQL Server 2017 Features</a:t>
          </a:r>
          <a:endParaRPr lang="en-US"/>
        </a:p>
      </dgm:t>
    </dgm:pt>
    <dgm:pt modelId="{3C94FEB3-6732-481E-8DA5-5CE9AE085000}" type="parTrans" cxnId="{0EE34BC9-F720-4A7B-B4E8-3B2F08AEDBB9}">
      <dgm:prSet/>
      <dgm:spPr/>
      <dgm:t>
        <a:bodyPr/>
        <a:lstStyle/>
        <a:p>
          <a:endParaRPr lang="en-US"/>
        </a:p>
      </dgm:t>
    </dgm:pt>
    <dgm:pt modelId="{E7D30D8F-1972-407E-8C57-3E274FF6E093}" type="sibTrans" cxnId="{0EE34BC9-F720-4A7B-B4E8-3B2F08AEDBB9}">
      <dgm:prSet/>
      <dgm:spPr/>
      <dgm:t>
        <a:bodyPr/>
        <a:lstStyle/>
        <a:p>
          <a:endParaRPr lang="en-US"/>
        </a:p>
      </dgm:t>
    </dgm:pt>
    <dgm:pt modelId="{A966074A-A3EF-484B-8458-43BC88A0DB50}">
      <dgm:prSet/>
      <dgm:spPr/>
      <dgm:t>
        <a:bodyPr/>
        <a:lstStyle/>
        <a:p>
          <a:r>
            <a:rPr lang="en-US" b="0" i="0" baseline="0"/>
            <a:t>Enabled by default in Compatibility level 140 or higher</a:t>
          </a:r>
          <a:endParaRPr lang="en-US"/>
        </a:p>
      </dgm:t>
    </dgm:pt>
    <dgm:pt modelId="{7669BD68-FAA4-46FB-BD81-DC6E6F1677BD}" type="parTrans" cxnId="{ECA9CB09-85D4-4B64-93BB-72BBA7EA7B4D}">
      <dgm:prSet/>
      <dgm:spPr/>
      <dgm:t>
        <a:bodyPr/>
        <a:lstStyle/>
        <a:p>
          <a:endParaRPr lang="en-US"/>
        </a:p>
      </dgm:t>
    </dgm:pt>
    <dgm:pt modelId="{690BA8BF-FA89-412C-81ED-2ED5C321A439}" type="sibTrans" cxnId="{ECA9CB09-85D4-4B64-93BB-72BBA7EA7B4D}">
      <dgm:prSet/>
      <dgm:spPr/>
      <dgm:t>
        <a:bodyPr/>
        <a:lstStyle/>
        <a:p>
          <a:endParaRPr lang="en-US"/>
        </a:p>
      </dgm:t>
    </dgm:pt>
    <dgm:pt modelId="{E125D2A4-CCA8-4E48-8961-B1A8C4B97641}">
      <dgm:prSet/>
      <dgm:spPr/>
      <dgm:t>
        <a:bodyPr/>
        <a:lstStyle/>
        <a:p>
          <a:r>
            <a:rPr lang="en-US" b="0" i="0" baseline="0"/>
            <a:t>To disable change compatibility level to 130 or lower</a:t>
          </a:r>
          <a:endParaRPr lang="en-US"/>
        </a:p>
      </dgm:t>
    </dgm:pt>
    <dgm:pt modelId="{70E278DC-E01C-4DF4-A2BE-9F2D0481C884}" type="parTrans" cxnId="{4CA5AAA7-C285-4013-A35F-8972361F1590}">
      <dgm:prSet/>
      <dgm:spPr/>
      <dgm:t>
        <a:bodyPr/>
        <a:lstStyle/>
        <a:p>
          <a:endParaRPr lang="en-US"/>
        </a:p>
      </dgm:t>
    </dgm:pt>
    <dgm:pt modelId="{4674537B-B8D1-42D9-8C21-FA1B3F6E877E}" type="sibTrans" cxnId="{4CA5AAA7-C285-4013-A35F-8972361F1590}">
      <dgm:prSet/>
      <dgm:spPr/>
      <dgm:t>
        <a:bodyPr/>
        <a:lstStyle/>
        <a:p>
          <a:endParaRPr lang="en-US"/>
        </a:p>
      </dgm:t>
    </dgm:pt>
    <dgm:pt modelId="{40E1E09E-7149-49CF-8D93-01B7D31D818C}">
      <dgm:prSet/>
      <dgm:spPr/>
      <dgm:t>
        <a:bodyPr/>
        <a:lstStyle/>
        <a:p>
          <a:r>
            <a:rPr lang="en-US" b="0" i="0" baseline="0"/>
            <a:t>For SQL Server 2019 Features</a:t>
          </a:r>
          <a:endParaRPr lang="en-US"/>
        </a:p>
      </dgm:t>
    </dgm:pt>
    <dgm:pt modelId="{57206C63-51DF-446B-81F6-C0D61CAB6BF3}" type="parTrans" cxnId="{480542F7-3BD3-44FE-A2ED-367808B11D91}">
      <dgm:prSet/>
      <dgm:spPr/>
      <dgm:t>
        <a:bodyPr/>
        <a:lstStyle/>
        <a:p>
          <a:endParaRPr lang="en-US"/>
        </a:p>
      </dgm:t>
    </dgm:pt>
    <dgm:pt modelId="{308B6EFB-DF43-4EC2-97C8-A638768B7104}" type="sibTrans" cxnId="{480542F7-3BD3-44FE-A2ED-367808B11D91}">
      <dgm:prSet/>
      <dgm:spPr/>
      <dgm:t>
        <a:bodyPr/>
        <a:lstStyle/>
        <a:p>
          <a:endParaRPr lang="en-US"/>
        </a:p>
      </dgm:t>
    </dgm:pt>
    <dgm:pt modelId="{7193DCC5-7302-4B13-A9E8-625CDA53828D}">
      <dgm:prSet/>
      <dgm:spPr/>
      <dgm:t>
        <a:bodyPr/>
        <a:lstStyle/>
        <a:p>
          <a:r>
            <a:rPr lang="en-US" b="0" i="0" baseline="0"/>
            <a:t>Enabled by default in Compatibility level 150 or higher</a:t>
          </a:r>
          <a:endParaRPr lang="en-US"/>
        </a:p>
      </dgm:t>
    </dgm:pt>
    <dgm:pt modelId="{22258A30-BA4D-4845-B054-9712801C8450}" type="parTrans" cxnId="{786F7975-26C1-45BC-946E-BCC73554DEEC}">
      <dgm:prSet/>
      <dgm:spPr/>
      <dgm:t>
        <a:bodyPr/>
        <a:lstStyle/>
        <a:p>
          <a:endParaRPr lang="en-US"/>
        </a:p>
      </dgm:t>
    </dgm:pt>
    <dgm:pt modelId="{90AAAE82-89B6-4FF0-84A7-EC6DD96A0C24}" type="sibTrans" cxnId="{786F7975-26C1-45BC-946E-BCC73554DEEC}">
      <dgm:prSet/>
      <dgm:spPr/>
      <dgm:t>
        <a:bodyPr/>
        <a:lstStyle/>
        <a:p>
          <a:endParaRPr lang="en-US"/>
        </a:p>
      </dgm:t>
    </dgm:pt>
    <dgm:pt modelId="{6575D6B8-BCC1-450A-BB72-AC4D21FBEDDF}">
      <dgm:prSet/>
      <dgm:spPr/>
      <dgm:t>
        <a:bodyPr/>
        <a:lstStyle/>
        <a:p>
          <a:r>
            <a:rPr lang="en-US" b="0" i="0" baseline="0"/>
            <a:t>To disable change compatibility level to 140 or lower</a:t>
          </a:r>
          <a:endParaRPr lang="en-US"/>
        </a:p>
      </dgm:t>
    </dgm:pt>
    <dgm:pt modelId="{D146F1BE-7003-42F8-97A4-92C859160D3C}" type="parTrans" cxnId="{2A9E1010-25CB-4546-ADDD-0B0460197580}">
      <dgm:prSet/>
      <dgm:spPr/>
      <dgm:t>
        <a:bodyPr/>
        <a:lstStyle/>
        <a:p>
          <a:endParaRPr lang="en-US"/>
        </a:p>
      </dgm:t>
    </dgm:pt>
    <dgm:pt modelId="{80E48E7C-9E00-4FBE-9B42-BD6DE0E45480}" type="sibTrans" cxnId="{2A9E1010-25CB-4546-ADDD-0B0460197580}">
      <dgm:prSet/>
      <dgm:spPr/>
      <dgm:t>
        <a:bodyPr/>
        <a:lstStyle/>
        <a:p>
          <a:endParaRPr lang="en-US"/>
        </a:p>
      </dgm:t>
    </dgm:pt>
    <dgm:pt modelId="{20B86D46-23F7-4247-8F2A-205EE1B4999A}">
      <dgm:prSet/>
      <dgm:spPr/>
      <dgm:t>
        <a:bodyPr/>
        <a:lstStyle/>
        <a:p>
          <a:r>
            <a:rPr lang="en-US" b="0" i="0" baseline="0"/>
            <a:t>For SQL Server 2022 Features</a:t>
          </a:r>
          <a:endParaRPr lang="en-US"/>
        </a:p>
      </dgm:t>
    </dgm:pt>
    <dgm:pt modelId="{5AC410F1-AD67-4F11-95D4-7C688F3C0ABA}" type="parTrans" cxnId="{6D9D1B7E-5444-4667-B599-CDE1FBB9ADE4}">
      <dgm:prSet/>
      <dgm:spPr/>
      <dgm:t>
        <a:bodyPr/>
        <a:lstStyle/>
        <a:p>
          <a:endParaRPr lang="en-US"/>
        </a:p>
      </dgm:t>
    </dgm:pt>
    <dgm:pt modelId="{E1ACE809-FC7E-4699-89CF-DE3BB1A12A3D}" type="sibTrans" cxnId="{6D9D1B7E-5444-4667-B599-CDE1FBB9ADE4}">
      <dgm:prSet/>
      <dgm:spPr/>
      <dgm:t>
        <a:bodyPr/>
        <a:lstStyle/>
        <a:p>
          <a:endParaRPr lang="en-US"/>
        </a:p>
      </dgm:t>
    </dgm:pt>
    <dgm:pt modelId="{B6DF4F87-87DB-4AFB-90CA-95354A3431B8}">
      <dgm:prSet/>
      <dgm:spPr/>
      <dgm:t>
        <a:bodyPr/>
        <a:lstStyle/>
        <a:p>
          <a:r>
            <a:rPr lang="en-US" b="0" i="0" baseline="0"/>
            <a:t>Enabled by default in Compatibility level 160 or higher</a:t>
          </a:r>
          <a:endParaRPr lang="en-US"/>
        </a:p>
      </dgm:t>
    </dgm:pt>
    <dgm:pt modelId="{23B423A7-0D56-4481-9944-A38F66DE8D65}" type="parTrans" cxnId="{F6E49F48-E7B1-42F9-8194-F5BB5E22F219}">
      <dgm:prSet/>
      <dgm:spPr/>
      <dgm:t>
        <a:bodyPr/>
        <a:lstStyle/>
        <a:p>
          <a:endParaRPr lang="en-US"/>
        </a:p>
      </dgm:t>
    </dgm:pt>
    <dgm:pt modelId="{A721FAE5-0EF2-4A70-A12D-32078BEAC213}" type="sibTrans" cxnId="{F6E49F48-E7B1-42F9-8194-F5BB5E22F219}">
      <dgm:prSet/>
      <dgm:spPr/>
      <dgm:t>
        <a:bodyPr/>
        <a:lstStyle/>
        <a:p>
          <a:endParaRPr lang="en-US"/>
        </a:p>
      </dgm:t>
    </dgm:pt>
    <dgm:pt modelId="{3C0FB1D6-B71F-4C57-B890-57FD8F1070FC}">
      <dgm:prSet/>
      <dgm:spPr/>
      <dgm:t>
        <a:bodyPr/>
        <a:lstStyle/>
        <a:p>
          <a:r>
            <a:rPr lang="en-US" b="0" i="0" baseline="0"/>
            <a:t>To disable change compatibility level to 150 or lower</a:t>
          </a:r>
          <a:endParaRPr lang="en-US"/>
        </a:p>
      </dgm:t>
    </dgm:pt>
    <dgm:pt modelId="{93314700-DDBA-41BA-858F-20F8AF432AE2}" type="parTrans" cxnId="{E0D9BE18-7B7A-41B4-A5B4-19FB6D2925F6}">
      <dgm:prSet/>
      <dgm:spPr/>
      <dgm:t>
        <a:bodyPr/>
        <a:lstStyle/>
        <a:p>
          <a:endParaRPr lang="en-US"/>
        </a:p>
      </dgm:t>
    </dgm:pt>
    <dgm:pt modelId="{F8275405-D8C4-4A38-A3A5-951677A83D4E}" type="sibTrans" cxnId="{E0D9BE18-7B7A-41B4-A5B4-19FB6D2925F6}">
      <dgm:prSet/>
      <dgm:spPr/>
      <dgm:t>
        <a:bodyPr/>
        <a:lstStyle/>
        <a:p>
          <a:endParaRPr lang="en-US"/>
        </a:p>
      </dgm:t>
    </dgm:pt>
    <dgm:pt modelId="{3029E92F-A0ED-443E-9945-A79F9877D286}" type="pres">
      <dgm:prSet presAssocID="{9BFA158E-C0B2-4491-A478-D35EA9CB2E8C}" presName="Name0" presStyleCnt="0">
        <dgm:presLayoutVars>
          <dgm:dir/>
          <dgm:animLvl val="lvl"/>
          <dgm:resizeHandles val="exact"/>
        </dgm:presLayoutVars>
      </dgm:prSet>
      <dgm:spPr/>
    </dgm:pt>
    <dgm:pt modelId="{241A5484-4A96-4EDC-9934-F352282C89BF}" type="pres">
      <dgm:prSet presAssocID="{7C1BA52E-682C-46B6-B49B-7EAADCFF842C}" presName="linNode" presStyleCnt="0"/>
      <dgm:spPr/>
    </dgm:pt>
    <dgm:pt modelId="{218FD34E-2541-406A-A55B-A25B88950A10}" type="pres">
      <dgm:prSet presAssocID="{7C1BA52E-682C-46B6-B49B-7EAADCFF842C}" presName="parentText" presStyleLbl="node1" presStyleIdx="0" presStyleCnt="3">
        <dgm:presLayoutVars>
          <dgm:chMax val="1"/>
          <dgm:bulletEnabled val="1"/>
        </dgm:presLayoutVars>
      </dgm:prSet>
      <dgm:spPr/>
    </dgm:pt>
    <dgm:pt modelId="{A3722D08-C011-4DD1-8142-126293CB9841}" type="pres">
      <dgm:prSet presAssocID="{7C1BA52E-682C-46B6-B49B-7EAADCFF842C}" presName="descendantText" presStyleLbl="alignAccFollowNode1" presStyleIdx="0" presStyleCnt="3">
        <dgm:presLayoutVars>
          <dgm:bulletEnabled val="1"/>
        </dgm:presLayoutVars>
      </dgm:prSet>
      <dgm:spPr/>
    </dgm:pt>
    <dgm:pt modelId="{1079B47F-E910-472E-BFB1-712B2F8F71B8}" type="pres">
      <dgm:prSet presAssocID="{E7D30D8F-1972-407E-8C57-3E274FF6E093}" presName="sp" presStyleCnt="0"/>
      <dgm:spPr/>
    </dgm:pt>
    <dgm:pt modelId="{ACF41510-0932-42C0-B620-33590FE7B270}" type="pres">
      <dgm:prSet presAssocID="{40E1E09E-7149-49CF-8D93-01B7D31D818C}" presName="linNode" presStyleCnt="0"/>
      <dgm:spPr/>
    </dgm:pt>
    <dgm:pt modelId="{2CEAB421-F7F0-4DBA-8BC0-61523C870BAD}" type="pres">
      <dgm:prSet presAssocID="{40E1E09E-7149-49CF-8D93-01B7D31D818C}" presName="parentText" presStyleLbl="node1" presStyleIdx="1" presStyleCnt="3">
        <dgm:presLayoutVars>
          <dgm:chMax val="1"/>
          <dgm:bulletEnabled val="1"/>
        </dgm:presLayoutVars>
      </dgm:prSet>
      <dgm:spPr/>
    </dgm:pt>
    <dgm:pt modelId="{57B402D0-3813-4A24-A54B-61124215544D}" type="pres">
      <dgm:prSet presAssocID="{40E1E09E-7149-49CF-8D93-01B7D31D818C}" presName="descendantText" presStyleLbl="alignAccFollowNode1" presStyleIdx="1" presStyleCnt="3">
        <dgm:presLayoutVars>
          <dgm:bulletEnabled val="1"/>
        </dgm:presLayoutVars>
      </dgm:prSet>
      <dgm:spPr/>
    </dgm:pt>
    <dgm:pt modelId="{5F59DCC0-1541-44F6-AD31-4BE820AFB986}" type="pres">
      <dgm:prSet presAssocID="{308B6EFB-DF43-4EC2-97C8-A638768B7104}" presName="sp" presStyleCnt="0"/>
      <dgm:spPr/>
    </dgm:pt>
    <dgm:pt modelId="{C8DB75BD-F69F-45A3-B261-5E1876173FFD}" type="pres">
      <dgm:prSet presAssocID="{20B86D46-23F7-4247-8F2A-205EE1B4999A}" presName="linNode" presStyleCnt="0"/>
      <dgm:spPr/>
    </dgm:pt>
    <dgm:pt modelId="{5B24DDF3-44E0-40FF-B14A-8F8A9E374E17}" type="pres">
      <dgm:prSet presAssocID="{20B86D46-23F7-4247-8F2A-205EE1B4999A}" presName="parentText" presStyleLbl="node1" presStyleIdx="2" presStyleCnt="3">
        <dgm:presLayoutVars>
          <dgm:chMax val="1"/>
          <dgm:bulletEnabled val="1"/>
        </dgm:presLayoutVars>
      </dgm:prSet>
      <dgm:spPr/>
    </dgm:pt>
    <dgm:pt modelId="{626A19CE-ED32-4563-82E3-899C299E48A3}" type="pres">
      <dgm:prSet presAssocID="{20B86D46-23F7-4247-8F2A-205EE1B4999A}" presName="descendantText" presStyleLbl="alignAccFollowNode1" presStyleIdx="2" presStyleCnt="3">
        <dgm:presLayoutVars>
          <dgm:bulletEnabled val="1"/>
        </dgm:presLayoutVars>
      </dgm:prSet>
      <dgm:spPr/>
    </dgm:pt>
  </dgm:ptLst>
  <dgm:cxnLst>
    <dgm:cxn modelId="{ECA9CB09-85D4-4B64-93BB-72BBA7EA7B4D}" srcId="{7C1BA52E-682C-46B6-B49B-7EAADCFF842C}" destId="{A966074A-A3EF-484B-8458-43BC88A0DB50}" srcOrd="0" destOrd="0" parTransId="{7669BD68-FAA4-46FB-BD81-DC6E6F1677BD}" sibTransId="{690BA8BF-FA89-412C-81ED-2ED5C321A439}"/>
    <dgm:cxn modelId="{B55F8B0A-1617-4E1C-AAEC-6D68B9CC882C}" type="presOf" srcId="{7193DCC5-7302-4B13-A9E8-625CDA53828D}" destId="{57B402D0-3813-4A24-A54B-61124215544D}" srcOrd="0" destOrd="0" presId="urn:microsoft.com/office/officeart/2005/8/layout/vList5"/>
    <dgm:cxn modelId="{2A9E1010-25CB-4546-ADDD-0B0460197580}" srcId="{40E1E09E-7149-49CF-8D93-01B7D31D818C}" destId="{6575D6B8-BCC1-450A-BB72-AC4D21FBEDDF}" srcOrd="1" destOrd="0" parTransId="{D146F1BE-7003-42F8-97A4-92C859160D3C}" sibTransId="{80E48E7C-9E00-4FBE-9B42-BD6DE0E45480}"/>
    <dgm:cxn modelId="{E0D9BE18-7B7A-41B4-A5B4-19FB6D2925F6}" srcId="{20B86D46-23F7-4247-8F2A-205EE1B4999A}" destId="{3C0FB1D6-B71F-4C57-B890-57FD8F1070FC}" srcOrd="1" destOrd="0" parTransId="{93314700-DDBA-41BA-858F-20F8AF432AE2}" sibTransId="{F8275405-D8C4-4A38-A3A5-951677A83D4E}"/>
    <dgm:cxn modelId="{F6E49F48-E7B1-42F9-8194-F5BB5E22F219}" srcId="{20B86D46-23F7-4247-8F2A-205EE1B4999A}" destId="{B6DF4F87-87DB-4AFB-90CA-95354A3431B8}" srcOrd="0" destOrd="0" parTransId="{23B423A7-0D56-4481-9944-A38F66DE8D65}" sibTransId="{A721FAE5-0EF2-4A70-A12D-32078BEAC213}"/>
    <dgm:cxn modelId="{9C2ACD6C-DD05-497A-9CF1-EA3E02999D9E}" type="presOf" srcId="{7C1BA52E-682C-46B6-B49B-7EAADCFF842C}" destId="{218FD34E-2541-406A-A55B-A25B88950A10}" srcOrd="0" destOrd="0" presId="urn:microsoft.com/office/officeart/2005/8/layout/vList5"/>
    <dgm:cxn modelId="{5B906D4F-DC2A-4923-BE5B-0D5F1CA9E285}" type="presOf" srcId="{A966074A-A3EF-484B-8458-43BC88A0DB50}" destId="{A3722D08-C011-4DD1-8142-126293CB9841}" srcOrd="0" destOrd="0" presId="urn:microsoft.com/office/officeart/2005/8/layout/vList5"/>
    <dgm:cxn modelId="{F8843071-C655-4EB7-9E74-C919BD0EBACD}" type="presOf" srcId="{20B86D46-23F7-4247-8F2A-205EE1B4999A}" destId="{5B24DDF3-44E0-40FF-B14A-8F8A9E374E17}" srcOrd="0" destOrd="0" presId="urn:microsoft.com/office/officeart/2005/8/layout/vList5"/>
    <dgm:cxn modelId="{786F7975-26C1-45BC-946E-BCC73554DEEC}" srcId="{40E1E09E-7149-49CF-8D93-01B7D31D818C}" destId="{7193DCC5-7302-4B13-A9E8-625CDA53828D}" srcOrd="0" destOrd="0" parTransId="{22258A30-BA4D-4845-B054-9712801C8450}" sibTransId="{90AAAE82-89B6-4FF0-84A7-EC6DD96A0C24}"/>
    <dgm:cxn modelId="{34340076-EEC1-4713-A1EE-A4AD81A92CE4}" type="presOf" srcId="{3C0FB1D6-B71F-4C57-B890-57FD8F1070FC}" destId="{626A19CE-ED32-4563-82E3-899C299E48A3}" srcOrd="0" destOrd="1" presId="urn:microsoft.com/office/officeart/2005/8/layout/vList5"/>
    <dgm:cxn modelId="{D609A159-E9FB-4EEA-89F1-C48627213A2E}" type="presOf" srcId="{E125D2A4-CCA8-4E48-8961-B1A8C4B97641}" destId="{A3722D08-C011-4DD1-8142-126293CB9841}" srcOrd="0" destOrd="1" presId="urn:microsoft.com/office/officeart/2005/8/layout/vList5"/>
    <dgm:cxn modelId="{6D9D1B7E-5444-4667-B599-CDE1FBB9ADE4}" srcId="{9BFA158E-C0B2-4491-A478-D35EA9CB2E8C}" destId="{20B86D46-23F7-4247-8F2A-205EE1B4999A}" srcOrd="2" destOrd="0" parTransId="{5AC410F1-AD67-4F11-95D4-7C688F3C0ABA}" sibTransId="{E1ACE809-FC7E-4699-89CF-DE3BB1A12A3D}"/>
    <dgm:cxn modelId="{DD74209F-1E76-4E33-98C7-9543EBFFF07D}" type="presOf" srcId="{9BFA158E-C0B2-4491-A478-D35EA9CB2E8C}" destId="{3029E92F-A0ED-443E-9945-A79F9877D286}" srcOrd="0" destOrd="0" presId="urn:microsoft.com/office/officeart/2005/8/layout/vList5"/>
    <dgm:cxn modelId="{4A173DA5-E61B-4DFB-8CBE-DEFE61F86FBC}" type="presOf" srcId="{40E1E09E-7149-49CF-8D93-01B7D31D818C}" destId="{2CEAB421-F7F0-4DBA-8BC0-61523C870BAD}" srcOrd="0" destOrd="0" presId="urn:microsoft.com/office/officeart/2005/8/layout/vList5"/>
    <dgm:cxn modelId="{4CA5AAA7-C285-4013-A35F-8972361F1590}" srcId="{7C1BA52E-682C-46B6-B49B-7EAADCFF842C}" destId="{E125D2A4-CCA8-4E48-8961-B1A8C4B97641}" srcOrd="1" destOrd="0" parTransId="{70E278DC-E01C-4DF4-A2BE-9F2D0481C884}" sibTransId="{4674537B-B8D1-42D9-8C21-FA1B3F6E877E}"/>
    <dgm:cxn modelId="{A8F19EBF-56A9-4372-AF5A-D912DEA60BC3}" type="presOf" srcId="{6575D6B8-BCC1-450A-BB72-AC4D21FBEDDF}" destId="{57B402D0-3813-4A24-A54B-61124215544D}" srcOrd="0" destOrd="1" presId="urn:microsoft.com/office/officeart/2005/8/layout/vList5"/>
    <dgm:cxn modelId="{0EE34BC9-F720-4A7B-B4E8-3B2F08AEDBB9}" srcId="{9BFA158E-C0B2-4491-A478-D35EA9CB2E8C}" destId="{7C1BA52E-682C-46B6-B49B-7EAADCFF842C}" srcOrd="0" destOrd="0" parTransId="{3C94FEB3-6732-481E-8DA5-5CE9AE085000}" sibTransId="{E7D30D8F-1972-407E-8C57-3E274FF6E093}"/>
    <dgm:cxn modelId="{6F1B27DD-0D9B-469F-9038-F5DFFA07DFF3}" type="presOf" srcId="{B6DF4F87-87DB-4AFB-90CA-95354A3431B8}" destId="{626A19CE-ED32-4563-82E3-899C299E48A3}" srcOrd="0" destOrd="0" presId="urn:microsoft.com/office/officeart/2005/8/layout/vList5"/>
    <dgm:cxn modelId="{480542F7-3BD3-44FE-A2ED-367808B11D91}" srcId="{9BFA158E-C0B2-4491-A478-D35EA9CB2E8C}" destId="{40E1E09E-7149-49CF-8D93-01B7D31D818C}" srcOrd="1" destOrd="0" parTransId="{57206C63-51DF-446B-81F6-C0D61CAB6BF3}" sibTransId="{308B6EFB-DF43-4EC2-97C8-A638768B7104}"/>
    <dgm:cxn modelId="{920E1CF4-DD80-4308-BFBD-29F47C0BBCDA}" type="presParOf" srcId="{3029E92F-A0ED-443E-9945-A79F9877D286}" destId="{241A5484-4A96-4EDC-9934-F352282C89BF}" srcOrd="0" destOrd="0" presId="urn:microsoft.com/office/officeart/2005/8/layout/vList5"/>
    <dgm:cxn modelId="{25315A1F-8D53-4718-A97D-B4469AA0390E}" type="presParOf" srcId="{241A5484-4A96-4EDC-9934-F352282C89BF}" destId="{218FD34E-2541-406A-A55B-A25B88950A10}" srcOrd="0" destOrd="0" presId="urn:microsoft.com/office/officeart/2005/8/layout/vList5"/>
    <dgm:cxn modelId="{12A0DB98-8273-43BF-8BA7-3953CB9ACDE8}" type="presParOf" srcId="{241A5484-4A96-4EDC-9934-F352282C89BF}" destId="{A3722D08-C011-4DD1-8142-126293CB9841}" srcOrd="1" destOrd="0" presId="urn:microsoft.com/office/officeart/2005/8/layout/vList5"/>
    <dgm:cxn modelId="{356C762E-9038-4A7C-96B5-5DA25E3F09B2}" type="presParOf" srcId="{3029E92F-A0ED-443E-9945-A79F9877D286}" destId="{1079B47F-E910-472E-BFB1-712B2F8F71B8}" srcOrd="1" destOrd="0" presId="urn:microsoft.com/office/officeart/2005/8/layout/vList5"/>
    <dgm:cxn modelId="{F1481475-D229-43A3-B152-EF1D2D64D7A5}" type="presParOf" srcId="{3029E92F-A0ED-443E-9945-A79F9877D286}" destId="{ACF41510-0932-42C0-B620-33590FE7B270}" srcOrd="2" destOrd="0" presId="urn:microsoft.com/office/officeart/2005/8/layout/vList5"/>
    <dgm:cxn modelId="{B739D04F-0F3C-4997-921E-20BC285836FC}" type="presParOf" srcId="{ACF41510-0932-42C0-B620-33590FE7B270}" destId="{2CEAB421-F7F0-4DBA-8BC0-61523C870BAD}" srcOrd="0" destOrd="0" presId="urn:microsoft.com/office/officeart/2005/8/layout/vList5"/>
    <dgm:cxn modelId="{01F69B49-1657-4839-91EB-DD8A1DDC2EA5}" type="presParOf" srcId="{ACF41510-0932-42C0-B620-33590FE7B270}" destId="{57B402D0-3813-4A24-A54B-61124215544D}" srcOrd="1" destOrd="0" presId="urn:microsoft.com/office/officeart/2005/8/layout/vList5"/>
    <dgm:cxn modelId="{B09B73CB-D859-4D58-B9E6-5E6A9F66BFEC}" type="presParOf" srcId="{3029E92F-A0ED-443E-9945-A79F9877D286}" destId="{5F59DCC0-1541-44F6-AD31-4BE820AFB986}" srcOrd="3" destOrd="0" presId="urn:microsoft.com/office/officeart/2005/8/layout/vList5"/>
    <dgm:cxn modelId="{3442D170-671D-4CF0-B318-412B904D4416}" type="presParOf" srcId="{3029E92F-A0ED-443E-9945-A79F9877D286}" destId="{C8DB75BD-F69F-45A3-B261-5E1876173FFD}" srcOrd="4" destOrd="0" presId="urn:microsoft.com/office/officeart/2005/8/layout/vList5"/>
    <dgm:cxn modelId="{58D04AA9-E219-4E21-9F90-88F428725AE3}" type="presParOf" srcId="{C8DB75BD-F69F-45A3-B261-5E1876173FFD}" destId="{5B24DDF3-44E0-40FF-B14A-8F8A9E374E17}" srcOrd="0" destOrd="0" presId="urn:microsoft.com/office/officeart/2005/8/layout/vList5"/>
    <dgm:cxn modelId="{48063D14-20ED-4D34-8B32-35072EF7EA53}" type="presParOf" srcId="{C8DB75BD-F69F-45A3-B261-5E1876173FFD}" destId="{626A19CE-ED32-4563-82E3-899C299E48A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EC5624F3-2170-43DC-97A6-A153AC2072F1}">
      <dgm:prSet phldrT="[Text]"/>
      <dgm:spPr>
        <a:solidFill>
          <a:schemeClr val="accent6">
            <a:lumMod val="75000"/>
          </a:schemeClr>
        </a:solidFill>
      </dgm:spPr>
      <dgm:t>
        <a:bodyPr/>
        <a:lstStyle/>
        <a:p>
          <a:r>
            <a:rPr lang="en-US" dirty="0"/>
            <a:t>Intelligent Query Processing</a:t>
          </a:r>
        </a:p>
      </dgm:t>
    </dgm:pt>
    <dgm:pt modelId="{C80E803B-64F4-4A30-87D2-8ED88166C688}" type="parTrans" cxnId="{7FDD7555-2565-4071-ACB8-ED9C704D5338}">
      <dgm:prSet/>
      <dgm:spPr/>
      <dgm:t>
        <a:bodyPr/>
        <a:lstStyle/>
        <a:p>
          <a:endParaRPr lang="en-US"/>
        </a:p>
      </dgm:t>
    </dgm:pt>
    <dgm:pt modelId="{A7EC1166-0957-45DC-A9BA-8700F8AB8D72}" type="sibTrans" cxnId="{7FDD7555-2565-4071-ACB8-ED9C704D5338}">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5261F5C2-903F-4994-916A-72A90DAE7F2D}" type="asst">
      <dgm:prSet phldrT="[Text]"/>
      <dgm:spPr>
        <a:solidFill>
          <a:schemeClr val="tx2">
            <a:lumMod val="60000"/>
            <a:lumOff val="40000"/>
          </a:schemeClr>
        </a:solidFill>
      </dgm:spPr>
      <dgm:t>
        <a:bodyPr/>
        <a:lstStyle/>
        <a:p>
          <a:r>
            <a:rPr lang="en-US" dirty="0"/>
            <a:t>Feedback Persistence</a:t>
          </a:r>
        </a:p>
      </dgm:t>
    </dgm:pt>
    <dgm:pt modelId="{FAA45A8D-079A-4FAC-87D1-08D72268764D}" type="parTrans" cxnId="{742FF205-1B4C-462C-ABBD-F2CB88EA006B}">
      <dgm:prSet/>
      <dgm:spPr/>
      <dgm:t>
        <a:bodyPr/>
        <a:lstStyle/>
        <a:p>
          <a:endParaRPr lang="en-US"/>
        </a:p>
      </dgm:t>
    </dgm:pt>
    <dgm:pt modelId="{EC32FA2C-6775-4014-B77E-A93B9C2EAE9C}" type="sibTrans" cxnId="{742FF205-1B4C-462C-ABBD-F2CB88EA006B}">
      <dgm:prSet/>
      <dgm:spPr/>
      <dgm:t>
        <a:bodyPr/>
        <a:lstStyle/>
        <a:p>
          <a:endParaRPr lang="en-US"/>
        </a:p>
      </dgm:t>
    </dgm:pt>
    <dgm:pt modelId="{1E81E9B4-AC06-47E2-948F-7FF9370400A3}" type="asst">
      <dgm:prSet phldrT="[Text]"/>
      <dgm:spPr>
        <a:solidFill>
          <a:schemeClr val="accent6">
            <a:lumMod val="75000"/>
          </a:schemeClr>
        </a:solidFill>
      </dgm:spPr>
      <dgm:t>
        <a:bodyPr/>
        <a:lstStyle/>
        <a:p>
          <a:r>
            <a:rPr lang="en-US" dirty="0"/>
            <a:t>Table Variable Deferred Compilation</a:t>
          </a:r>
        </a:p>
      </dgm:t>
    </dgm:pt>
    <dgm:pt modelId="{7E8BFC1C-609E-4A2A-A6DE-56B66744C355}" type="parTrans" cxnId="{F5D0A57F-67E1-4DBB-935C-3FF2AF202946}">
      <dgm:prSet/>
      <dgm:spPr/>
      <dgm:t>
        <a:bodyPr/>
        <a:lstStyle/>
        <a:p>
          <a:endParaRPr lang="en-US"/>
        </a:p>
      </dgm:t>
    </dgm:pt>
    <dgm:pt modelId="{46B4FF83-1DDF-4FD3-B148-A2D558555791}" type="sibTrans" cxnId="{F5D0A57F-67E1-4DBB-935C-3FF2AF202946}">
      <dgm:prSet/>
      <dgm:spPr/>
      <dgm:t>
        <a:bodyPr/>
        <a:lstStyle/>
        <a:p>
          <a:endParaRPr lang="en-US"/>
        </a:p>
      </dgm:t>
    </dgm:pt>
    <dgm:pt modelId="{0D417D08-4FBF-4067-AE00-49AC555E0C5B}" type="asst">
      <dgm:prSet phldrT="[Text]"/>
      <dgm:spPr>
        <a:solidFill>
          <a:schemeClr val="accent6">
            <a:lumMod val="75000"/>
          </a:schemeClr>
        </a:solidFill>
      </dgm:spPr>
      <dgm:t>
        <a:bodyPr/>
        <a:lstStyle/>
        <a:p>
          <a:r>
            <a:rPr lang="en-US" dirty="0"/>
            <a:t>Batch Mode On Rowstore Indexes</a:t>
          </a:r>
        </a:p>
      </dgm:t>
    </dgm:pt>
    <dgm:pt modelId="{7CC9B32C-12C5-4169-B087-595C8A48B4F8}" type="parTrans" cxnId="{361091F6-F150-4944-9179-958070BF5016}">
      <dgm:prSet/>
      <dgm:spPr/>
      <dgm:t>
        <a:bodyPr/>
        <a:lstStyle/>
        <a:p>
          <a:endParaRPr lang="en-US"/>
        </a:p>
      </dgm:t>
    </dgm:pt>
    <dgm:pt modelId="{3F8FBFB1-A037-4F4B-ABEC-A34AE5D26573}" type="sibTrans" cxnId="{361091F6-F150-4944-9179-958070BF5016}">
      <dgm:prSet/>
      <dgm:spPr/>
      <dgm:t>
        <a:bodyPr/>
        <a:lstStyle/>
        <a:p>
          <a:endParaRPr lang="en-US"/>
        </a:p>
      </dgm:t>
    </dgm:pt>
    <dgm:pt modelId="{8C0F6B1E-99DD-484F-9CBB-9F88518A86B5}" type="asst">
      <dgm:prSet phldrT="[Text]"/>
      <dgm:spPr>
        <a:solidFill>
          <a:schemeClr val="accent6">
            <a:lumMod val="75000"/>
          </a:schemeClr>
        </a:solidFill>
      </dgm:spPr>
      <dgm:t>
        <a:bodyPr/>
        <a:lstStyle/>
        <a:p>
          <a:r>
            <a:rPr lang="en-US" dirty="0"/>
            <a:t>Scalar UDF Inlining</a:t>
          </a:r>
        </a:p>
      </dgm:t>
    </dgm:pt>
    <dgm:pt modelId="{668AD6B7-A78E-4D72-8B81-3A80DF104F05}" type="parTrans" cxnId="{AF510379-0EC2-48F4-96CD-A1E088E4B952}">
      <dgm:prSet/>
      <dgm:spPr/>
      <dgm:t>
        <a:bodyPr/>
        <a:lstStyle/>
        <a:p>
          <a:endParaRPr lang="en-US"/>
        </a:p>
      </dgm:t>
    </dgm:pt>
    <dgm:pt modelId="{36865691-6BD6-4BAF-B077-D21E52EAEB2F}" type="sibTrans" cxnId="{AF510379-0EC2-48F4-96CD-A1E088E4B952}">
      <dgm:prSet/>
      <dgm:spPr/>
      <dgm:t>
        <a:bodyPr/>
        <a:lstStyle/>
        <a:p>
          <a:endParaRPr lang="en-US"/>
        </a:p>
      </dgm:t>
    </dgm:pt>
    <dgm:pt modelId="{DDFC3CEC-231C-49DE-8234-5A81205F633E}" type="asst">
      <dgm:prSet phldrT="[Text]"/>
      <dgm:spPr>
        <a:solidFill>
          <a:schemeClr val="accent6">
            <a:lumMod val="75000"/>
          </a:schemeClr>
        </a:solidFill>
      </dgm:spPr>
      <dgm:t>
        <a:bodyPr/>
        <a:lstStyle/>
        <a:p>
          <a:r>
            <a:rPr lang="en-US" dirty="0"/>
            <a:t>Approximate Query Processing</a:t>
          </a:r>
        </a:p>
      </dgm:t>
    </dgm:pt>
    <dgm:pt modelId="{8258E7A2-05F2-49E4-B3A6-F4702FB05F8A}" type="parTrans" cxnId="{B8617E25-688E-475B-8679-A1D87925804B}">
      <dgm:prSet/>
      <dgm:spPr/>
      <dgm:t>
        <a:bodyPr/>
        <a:lstStyle/>
        <a:p>
          <a:endParaRPr lang="en-US"/>
        </a:p>
      </dgm:t>
    </dgm:pt>
    <dgm:pt modelId="{AFF9EF7A-8DCE-46EC-BFDE-38B86F0B3FAA}" type="sibTrans" cxnId="{B8617E25-688E-475B-8679-A1D87925804B}">
      <dgm:prSet/>
      <dgm:spPr/>
      <dgm:t>
        <a:bodyPr/>
        <a:lstStyle/>
        <a:p>
          <a:endParaRPr lang="en-US"/>
        </a:p>
      </dgm:t>
    </dgm:pt>
    <dgm:pt modelId="{89E5375A-E5C4-4BAA-9A0A-D04D5C5FDCE1}" type="asst">
      <dgm:prSet phldrT="[Text]"/>
      <dgm:spPr>
        <a:solidFill>
          <a:schemeClr val="accent6">
            <a:lumMod val="75000"/>
          </a:schemeClr>
        </a:solidFill>
      </dgm:spPr>
      <dgm:t>
        <a:bodyPr/>
        <a:lstStyle/>
        <a:p>
          <a:r>
            <a:rPr lang="en-US" dirty="0"/>
            <a:t>Approximate Count Distinct</a:t>
          </a:r>
        </a:p>
      </dgm:t>
    </dgm:pt>
    <dgm:pt modelId="{4370DAB5-C489-492C-A122-928E36298688}" type="parTrans" cxnId="{E611D1D2-E2D2-4CA1-B835-18FCE113CC7B}">
      <dgm:prSet/>
      <dgm:spPr/>
      <dgm:t>
        <a:bodyPr/>
        <a:lstStyle/>
        <a:p>
          <a:endParaRPr lang="en-US"/>
        </a:p>
      </dgm:t>
    </dgm:pt>
    <dgm:pt modelId="{F2835A1B-9DA3-4CFB-8287-85F1ABC7BA78}" type="sibTrans" cxnId="{E611D1D2-E2D2-4CA1-B835-18FCE113CC7B}">
      <dgm:prSet/>
      <dgm:spPr/>
      <dgm:t>
        <a:bodyPr/>
        <a:lstStyle/>
        <a:p>
          <a:endParaRPr lang="en-US"/>
        </a:p>
      </dgm:t>
    </dgm:pt>
    <dgm:pt modelId="{5E4D45D3-4EEE-44BF-BB04-85EB89632980}" type="asst">
      <dgm:prSet phldrT="[Text]"/>
      <dgm:spPr>
        <a:solidFill>
          <a:schemeClr val="accent5"/>
        </a:solidFill>
      </dgm:spPr>
      <dgm:t>
        <a:bodyPr/>
        <a:lstStyle/>
        <a:p>
          <a:r>
            <a:rPr lang="en-US" dirty="0"/>
            <a:t>Memory Grant Feedback</a:t>
          </a:r>
        </a:p>
      </dgm:t>
    </dgm:pt>
    <dgm:pt modelId="{B8064B35-238A-4C65-8D31-8EB550D8EE46}" type="parTrans" cxnId="{3B185282-4DAB-4C10-A7E7-21EEFCA76B4B}">
      <dgm:prSet/>
      <dgm:spPr/>
      <dgm:t>
        <a:bodyPr/>
        <a:lstStyle/>
        <a:p>
          <a:endParaRPr lang="en-US"/>
        </a:p>
      </dgm:t>
    </dgm:pt>
    <dgm:pt modelId="{65BAB6D8-2E20-414D-8678-C7623740EA0B}" type="sibTrans" cxnId="{3B185282-4DAB-4C10-A7E7-21EEFCA76B4B}">
      <dgm:prSet/>
      <dgm:spPr/>
      <dgm:t>
        <a:bodyPr/>
        <a:lstStyle/>
        <a:p>
          <a:endParaRPr lang="en-US"/>
        </a:p>
      </dgm:t>
    </dgm:pt>
    <dgm:pt modelId="{05BCB79C-BFFC-40EA-AC08-07E846FCF786}" type="asst">
      <dgm:prSet phldrT="[Text]"/>
      <dgm:spPr>
        <a:solidFill>
          <a:schemeClr val="accent6">
            <a:lumMod val="75000"/>
          </a:schemeClr>
        </a:solidFill>
      </dgm:spPr>
      <dgm:t>
        <a:bodyPr/>
        <a:lstStyle/>
        <a:p>
          <a:r>
            <a:rPr lang="en-US" dirty="0"/>
            <a:t>Row Mode</a:t>
          </a:r>
        </a:p>
      </dgm:t>
    </dgm:pt>
    <dgm:pt modelId="{65EFF804-408F-48C0-9772-30C0A76E5CEE}" type="parTrans" cxnId="{1B504EE9-3243-4559-9F55-F693B856E65E}">
      <dgm:prSet/>
      <dgm:spPr/>
      <dgm:t>
        <a:bodyPr/>
        <a:lstStyle/>
        <a:p>
          <a:endParaRPr lang="en-US"/>
        </a:p>
      </dgm:t>
    </dgm:pt>
    <dgm:pt modelId="{E05952B9-F3FF-4088-AB3E-BE9A831EDAA0}" type="sibTrans" cxnId="{1B504EE9-3243-4559-9F55-F693B856E65E}">
      <dgm:prSet/>
      <dgm:spPr/>
      <dgm:t>
        <a:bodyPr/>
        <a:lstStyle/>
        <a:p>
          <a:endParaRPr lang="en-US"/>
        </a:p>
      </dgm:t>
    </dgm:pt>
    <dgm:pt modelId="{28D1B84A-E065-40FD-BD5D-03D24AFCCF3D}" type="asst">
      <dgm:prSet phldrT="[Text]"/>
      <dgm:spPr>
        <a:solidFill>
          <a:schemeClr val="tx2">
            <a:lumMod val="60000"/>
            <a:lumOff val="40000"/>
          </a:schemeClr>
        </a:solidFill>
      </dgm:spPr>
      <dgm:t>
        <a:bodyPr/>
        <a:lstStyle/>
        <a:p>
          <a:r>
            <a:rPr lang="en-US" dirty="0"/>
            <a:t>Approximate Percentile</a:t>
          </a:r>
        </a:p>
      </dgm:t>
    </dgm:pt>
    <dgm:pt modelId="{4EE2EAB5-6A7E-48F2-98F8-E9C8AF624649}" type="parTrans" cxnId="{37A8C165-C989-4E4B-964F-EBE3360E6646}">
      <dgm:prSet/>
      <dgm:spPr/>
      <dgm:t>
        <a:bodyPr/>
        <a:lstStyle/>
        <a:p>
          <a:endParaRPr lang="en-US"/>
        </a:p>
      </dgm:t>
    </dgm:pt>
    <dgm:pt modelId="{34CF20BC-F95D-4F09-A4FE-EF010505E83B}" type="sibTrans" cxnId="{37A8C165-C989-4E4B-964F-EBE3360E6646}">
      <dgm:prSet/>
      <dgm:spPr/>
      <dgm:t>
        <a:bodyPr/>
        <a:lstStyle/>
        <a:p>
          <a:endParaRPr lang="en-US"/>
        </a:p>
      </dgm:t>
    </dgm:pt>
    <dgm:pt modelId="{716DC358-E50A-4465-9552-0F542C15068C}" type="asst">
      <dgm:prSet phldrT="[Text]"/>
      <dgm:spPr>
        <a:solidFill>
          <a:schemeClr val="tx2">
            <a:lumMod val="60000"/>
            <a:lumOff val="40000"/>
          </a:schemeClr>
        </a:solidFill>
      </dgm:spPr>
      <dgm:t>
        <a:bodyPr/>
        <a:lstStyle/>
        <a:p>
          <a:r>
            <a:rPr lang="en-US" dirty="0"/>
            <a:t>Parameter Sensitive Plan Optimization</a:t>
          </a:r>
        </a:p>
      </dgm:t>
    </dgm:pt>
    <dgm:pt modelId="{5E125E7F-2924-434E-8A12-D0BB81488294}" type="parTrans" cxnId="{7CC43844-8375-4BC3-BBEE-6822921E2991}">
      <dgm:prSet/>
      <dgm:spPr/>
      <dgm:t>
        <a:bodyPr/>
        <a:lstStyle/>
        <a:p>
          <a:endParaRPr lang="en-US"/>
        </a:p>
      </dgm:t>
    </dgm:pt>
    <dgm:pt modelId="{A72B7E00-C70C-42CA-9F52-F69093192028}" type="sibTrans" cxnId="{7CC43844-8375-4BC3-BBEE-6822921E2991}">
      <dgm:prSet/>
      <dgm:spPr/>
      <dgm:t>
        <a:bodyPr/>
        <a:lstStyle/>
        <a:p>
          <a:endParaRPr lang="en-US"/>
        </a:p>
      </dgm:t>
    </dgm:pt>
    <dgm:pt modelId="{861DEF92-2271-49BB-8DAC-23DA80D99B90}" type="asst">
      <dgm:prSet phldrT="[Text]"/>
      <dgm:spPr>
        <a:solidFill>
          <a:schemeClr val="tx2">
            <a:lumMod val="60000"/>
            <a:lumOff val="40000"/>
          </a:schemeClr>
        </a:solidFill>
      </dgm:spPr>
      <dgm:t>
        <a:bodyPr/>
        <a:lstStyle/>
        <a:p>
          <a:r>
            <a:rPr lang="en-US" dirty="0"/>
            <a:t>CE Feedback</a:t>
          </a:r>
        </a:p>
      </dgm:t>
    </dgm:pt>
    <dgm:pt modelId="{691A60E3-A9F1-4BB7-B61A-8AFCF7412C11}" type="parTrans" cxnId="{2FDF8B99-FC59-406B-A1FD-8AF9C9CEA3D4}">
      <dgm:prSet/>
      <dgm:spPr/>
      <dgm:t>
        <a:bodyPr/>
        <a:lstStyle/>
        <a:p>
          <a:endParaRPr lang="en-US"/>
        </a:p>
      </dgm:t>
    </dgm:pt>
    <dgm:pt modelId="{5CBBAEA1-BB2D-4AFA-BEF6-8B6D03DE3CFE}" type="sibTrans" cxnId="{2FDF8B99-FC59-406B-A1FD-8AF9C9CEA3D4}">
      <dgm:prSet/>
      <dgm:spPr/>
      <dgm:t>
        <a:bodyPr/>
        <a:lstStyle/>
        <a:p>
          <a:endParaRPr lang="en-US"/>
        </a:p>
      </dgm:t>
    </dgm:pt>
    <dgm:pt modelId="{B0CDA07E-75AA-4E21-B99D-9A7EC2AC2297}" type="asst">
      <dgm:prSet phldrT="[Text]"/>
      <dgm:spPr>
        <a:solidFill>
          <a:schemeClr val="tx2">
            <a:lumMod val="60000"/>
            <a:lumOff val="40000"/>
          </a:schemeClr>
        </a:solidFill>
      </dgm:spPr>
      <dgm:t>
        <a:bodyPr/>
        <a:lstStyle/>
        <a:p>
          <a:r>
            <a:rPr lang="en-US" dirty="0"/>
            <a:t>DOP Feedback</a:t>
          </a:r>
        </a:p>
      </dgm:t>
    </dgm:pt>
    <dgm:pt modelId="{27CC5377-3579-4E3E-8156-C39F82F5C364}" type="parTrans" cxnId="{0F56A91A-1153-4932-8504-5E62188AEAC8}">
      <dgm:prSet/>
      <dgm:spPr/>
      <dgm:t>
        <a:bodyPr/>
        <a:lstStyle/>
        <a:p>
          <a:endParaRPr lang="en-US"/>
        </a:p>
      </dgm:t>
    </dgm:pt>
    <dgm:pt modelId="{5F20F1D6-8A88-425A-800F-2A5B575C67AC}" type="sibTrans" cxnId="{0F56A91A-1153-4932-8504-5E62188AEAC8}">
      <dgm:prSet/>
      <dgm:spPr/>
      <dgm:t>
        <a:bodyPr/>
        <a:lstStyle/>
        <a:p>
          <a:endParaRPr lang="en-US"/>
        </a:p>
      </dgm:t>
    </dgm:pt>
    <dgm:pt modelId="{33CA82AC-5404-4B6C-9BE4-C3211DCC27D6}" type="asst">
      <dgm:prSet phldrT="[Text]"/>
      <dgm:spPr>
        <a:solidFill>
          <a:schemeClr val="tx2">
            <a:lumMod val="60000"/>
            <a:lumOff val="40000"/>
          </a:schemeClr>
        </a:solidFill>
      </dgm:spPr>
      <dgm:t>
        <a:bodyPr/>
        <a:lstStyle/>
        <a:p>
          <a:r>
            <a:rPr lang="en-US" dirty="0"/>
            <a:t>Optimized Plan Forcing</a:t>
          </a:r>
        </a:p>
      </dgm:t>
    </dgm:pt>
    <dgm:pt modelId="{7CEBE2A4-1BCA-43F7-9303-C9876390EB0C}" type="parTrans" cxnId="{FBC6894D-0D43-4395-976D-9CA619A32989}">
      <dgm:prSet/>
      <dgm:spPr/>
      <dgm:t>
        <a:bodyPr/>
        <a:lstStyle/>
        <a:p>
          <a:endParaRPr lang="en-US"/>
        </a:p>
      </dgm:t>
    </dgm:pt>
    <dgm:pt modelId="{977137EC-A4E9-4B92-9F5C-C7C3E29C2F83}" type="sibTrans" cxnId="{FBC6894D-0D43-4395-976D-9CA619A3298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9C440C2D-186C-483D-9114-0BEB37C9BBB0}" type="pres">
      <dgm:prSet presAssocID="{EC5624F3-2170-43DC-97A6-A153AC2072F1}" presName="Name14" presStyleCnt="0"/>
      <dgm:spPr/>
    </dgm:pt>
    <dgm:pt modelId="{BF58BA63-FE57-4310-9773-8D919F0A46E5}" type="pres">
      <dgm:prSet presAssocID="{EC5624F3-2170-43DC-97A6-A153AC2072F1}" presName="level1Shape" presStyleLbl="node0" presStyleIdx="0" presStyleCnt="1">
        <dgm:presLayoutVars>
          <dgm:chPref val="3"/>
        </dgm:presLayoutVars>
      </dgm:prSet>
      <dgm:spPr/>
    </dgm:pt>
    <dgm:pt modelId="{A65EEE17-B142-4395-9440-82681C1ADA87}" type="pres">
      <dgm:prSet presAssocID="{EC5624F3-2170-43DC-97A6-A153AC2072F1}" presName="hierChild2" presStyleCnt="0"/>
      <dgm:spPr/>
    </dgm:pt>
    <dgm:pt modelId="{2A969FB1-A0CA-4BCB-9811-B1C2A2D37CF2}" type="pres">
      <dgm:prSet presAssocID="{DAF4A804-FF79-40DF-805D-58E5C402C862}" presName="Name19" presStyleLbl="parChTrans1D2" presStyleIdx="0" presStyleCnt="7"/>
      <dgm:spPr/>
    </dgm:pt>
    <dgm:pt modelId="{C3EFDF95-9A92-436A-B74A-D10E620D8558}" type="pres">
      <dgm:prSet presAssocID="{2787F9B9-D9EE-40F6-ABD4-C13F268A8AF1}" presName="Name21" presStyleCnt="0"/>
      <dgm:spPr/>
    </dgm:pt>
    <dgm:pt modelId="{4AC8CF5E-1D5D-4BBE-AAC6-1A65B9CD9224}" type="pres">
      <dgm:prSet presAssocID="{2787F9B9-D9EE-40F6-ABD4-C13F268A8AF1}" presName="level2Shape" presStyleLbl="node2" presStyleIdx="0" presStyleCnt="1"/>
      <dgm:spPr/>
    </dgm:pt>
    <dgm:pt modelId="{4C118CD9-0F4D-4592-8997-BCE0C79E8E72}" type="pres">
      <dgm:prSet presAssocID="{2787F9B9-D9EE-40F6-ABD4-C13F268A8AF1}" presName="hierChild3" presStyleCnt="0"/>
      <dgm:spPr/>
    </dgm:pt>
    <dgm:pt modelId="{9B0BC5A7-6A70-41C3-871D-416E6CE7FB15}" type="pres">
      <dgm:prSet presAssocID="{9D361AED-F287-426D-889C-035A581FCAD4}" presName="Name19" presStyleLbl="parChTrans1D3" presStyleIdx="0" presStyleCnt="7"/>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2" presStyleIdx="0" presStyleCnt="8"/>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3" presStyleIdx="1" presStyleCnt="7"/>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2" presStyleIdx="1" presStyleCnt="8"/>
      <dgm:spPr/>
    </dgm:pt>
    <dgm:pt modelId="{B89EE319-8A68-4B6F-A445-40F4B0A04EE8}" type="pres">
      <dgm:prSet presAssocID="{8277FB8B-9D39-4CC5-BDEC-D3827308642F}" presName="hierChild3" presStyleCnt="0"/>
      <dgm:spPr/>
    </dgm:pt>
    <dgm:pt modelId="{BF248486-F648-4871-903F-93B482640036}" type="pres">
      <dgm:prSet presAssocID="{B8064B35-238A-4C65-8D31-8EB550D8EE46}" presName="Name19" presStyleLbl="parChTrans1D3" presStyleIdx="2" presStyleCnt="7"/>
      <dgm:spPr/>
    </dgm:pt>
    <dgm:pt modelId="{6FE122D2-6752-431D-8724-80CE50A9C31E}" type="pres">
      <dgm:prSet presAssocID="{5E4D45D3-4EEE-44BF-BB04-85EB89632980}" presName="Name21" presStyleCnt="0"/>
      <dgm:spPr/>
    </dgm:pt>
    <dgm:pt modelId="{01027D77-40B4-492F-B9BC-73968B2B92A0}" type="pres">
      <dgm:prSet presAssocID="{5E4D45D3-4EEE-44BF-BB04-85EB89632980}" presName="level2Shape" presStyleLbl="asst2" presStyleIdx="2" presStyleCnt="8"/>
      <dgm:spPr/>
    </dgm:pt>
    <dgm:pt modelId="{6E2C3CF8-B46E-4FFF-82FC-557F555F00ED}" type="pres">
      <dgm:prSet presAssocID="{5E4D45D3-4EEE-44BF-BB04-85EB89632980}" presName="hierChild3" presStyleCnt="0"/>
      <dgm:spPr/>
    </dgm:pt>
    <dgm:pt modelId="{5690923D-9059-4138-8ACF-90D405019F80}" type="pres">
      <dgm:prSet presAssocID="{B2937768-267F-4FD0-B209-ADCABB3F2609}" presName="Name19" presStyleLbl="parChTrans1D4"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2" presStyleIdx="3" presStyleCnt="8"/>
      <dgm:spPr/>
    </dgm:pt>
    <dgm:pt modelId="{330902C9-A030-4F0E-8F44-4D46DA5BCFB1}" type="pres">
      <dgm:prSet presAssocID="{270DB351-209F-44E3-AE5D-DD3AA05A8175}" presName="hierChild3" presStyleCnt="0"/>
      <dgm:spPr/>
    </dgm:pt>
    <dgm:pt modelId="{810926B5-7D25-4DDF-8B56-5D578BE910C7}" type="pres">
      <dgm:prSet presAssocID="{65EFF804-408F-48C0-9772-30C0A76E5CEE}" presName="Name19" presStyleLbl="parChTrans1D4" presStyleIdx="1" presStyleCnt="3"/>
      <dgm:spPr/>
    </dgm:pt>
    <dgm:pt modelId="{DCFF6636-F58C-477D-8963-805BCD844A5F}" type="pres">
      <dgm:prSet presAssocID="{05BCB79C-BFFC-40EA-AC08-07E846FCF786}" presName="Name21" presStyleCnt="0"/>
      <dgm:spPr/>
    </dgm:pt>
    <dgm:pt modelId="{527787B6-C2E1-41AC-8A63-E0D44F6095FA}" type="pres">
      <dgm:prSet presAssocID="{05BCB79C-BFFC-40EA-AC08-07E846FCF786}" presName="level2Shape" presStyleLbl="asst2" presStyleIdx="4" presStyleCnt="8"/>
      <dgm:spPr/>
    </dgm:pt>
    <dgm:pt modelId="{89915CAD-8C75-4E3F-960D-6AB98D0B74F4}" type="pres">
      <dgm:prSet presAssocID="{05BCB79C-BFFC-40EA-AC08-07E846FCF786}" presName="hierChild3" presStyleCnt="0"/>
      <dgm:spPr/>
    </dgm:pt>
    <dgm:pt modelId="{5CC0C396-8377-475C-A00D-7F8341A1F477}" type="pres">
      <dgm:prSet presAssocID="{FAA45A8D-079A-4FAC-87D1-08D72268764D}" presName="Name19" presStyleLbl="parChTrans1D4" presStyleIdx="2" presStyleCnt="3"/>
      <dgm:spPr/>
    </dgm:pt>
    <dgm:pt modelId="{20755089-D219-4FE9-8B97-A1923491F114}" type="pres">
      <dgm:prSet presAssocID="{5261F5C2-903F-4994-916A-72A90DAE7F2D}" presName="Name21" presStyleCnt="0"/>
      <dgm:spPr/>
    </dgm:pt>
    <dgm:pt modelId="{82B5BF8B-57A2-4E22-AA4A-CDE9EE34C77B}" type="pres">
      <dgm:prSet presAssocID="{5261F5C2-903F-4994-916A-72A90DAE7F2D}" presName="level2Shape" presStyleLbl="asst2" presStyleIdx="5" presStyleCnt="8"/>
      <dgm:spPr/>
    </dgm:pt>
    <dgm:pt modelId="{65955D25-5FF5-4C6B-92DA-30B6843FBE65}" type="pres">
      <dgm:prSet presAssocID="{5261F5C2-903F-4994-916A-72A90DAE7F2D}" presName="hierChild3" presStyleCnt="0"/>
      <dgm:spPr/>
    </dgm:pt>
    <dgm:pt modelId="{D0464A9B-83F7-4A2D-94B3-57ED5F3C091B}" type="pres">
      <dgm:prSet presAssocID="{691A60E3-A9F1-4BB7-B61A-8AFCF7412C11}" presName="Name19" presStyleLbl="parChTrans1D3" presStyleIdx="3" presStyleCnt="7"/>
      <dgm:spPr/>
    </dgm:pt>
    <dgm:pt modelId="{EDF5D77A-4E31-4D23-9F30-FCF2FFED1E70}" type="pres">
      <dgm:prSet presAssocID="{861DEF92-2271-49BB-8DAC-23DA80D99B90}" presName="Name21" presStyleCnt="0"/>
      <dgm:spPr/>
    </dgm:pt>
    <dgm:pt modelId="{F97BDF46-D920-42CC-AE1D-3430A1C11D9E}" type="pres">
      <dgm:prSet presAssocID="{861DEF92-2271-49BB-8DAC-23DA80D99B90}" presName="level2Shape" presStyleLbl="asst2" presStyleIdx="6" presStyleCnt="8"/>
      <dgm:spPr/>
    </dgm:pt>
    <dgm:pt modelId="{09D64436-1B52-4BBB-9DC6-394FE685D216}" type="pres">
      <dgm:prSet presAssocID="{861DEF92-2271-49BB-8DAC-23DA80D99B90}" presName="hierChild3" presStyleCnt="0"/>
      <dgm:spPr/>
    </dgm:pt>
    <dgm:pt modelId="{BC3E3219-39C3-4268-83EE-67E130107410}" type="pres">
      <dgm:prSet presAssocID="{27CC5377-3579-4E3E-8156-C39F82F5C364}" presName="Name19" presStyleLbl="parChTrans1D3" presStyleIdx="4" presStyleCnt="7"/>
      <dgm:spPr/>
    </dgm:pt>
    <dgm:pt modelId="{C0E1C8F5-8309-4D4E-8059-B9DE3FF0655D}" type="pres">
      <dgm:prSet presAssocID="{B0CDA07E-75AA-4E21-B99D-9A7EC2AC2297}" presName="Name21" presStyleCnt="0"/>
      <dgm:spPr/>
    </dgm:pt>
    <dgm:pt modelId="{1FCB1E33-4F48-4A78-8612-EB7710CE8354}" type="pres">
      <dgm:prSet presAssocID="{B0CDA07E-75AA-4E21-B99D-9A7EC2AC2297}" presName="level2Shape" presStyleLbl="asst2" presStyleIdx="7" presStyleCnt="8"/>
      <dgm:spPr/>
    </dgm:pt>
    <dgm:pt modelId="{8AFE89C8-F601-4215-9EB3-699FC4157F3F}" type="pres">
      <dgm:prSet presAssocID="{B0CDA07E-75AA-4E21-B99D-9A7EC2AC2297}" presName="hierChild3" presStyleCnt="0"/>
      <dgm:spPr/>
    </dgm:pt>
    <dgm:pt modelId="{54FE398B-EB4B-4376-8CAD-D5884C340DB3}" type="pres">
      <dgm:prSet presAssocID="{7E8BFC1C-609E-4A2A-A6DE-56B66744C355}" presName="Name19" presStyleLbl="parChTrans1D2" presStyleIdx="1" presStyleCnt="7"/>
      <dgm:spPr/>
    </dgm:pt>
    <dgm:pt modelId="{340CDDD0-A67E-4157-8216-8DBB2B39CE6F}" type="pres">
      <dgm:prSet presAssocID="{1E81E9B4-AC06-47E2-948F-7FF9370400A3}" presName="Name21" presStyleCnt="0"/>
      <dgm:spPr/>
    </dgm:pt>
    <dgm:pt modelId="{7A4578FB-65D7-4CEC-85A5-A7F539A655E7}" type="pres">
      <dgm:prSet presAssocID="{1E81E9B4-AC06-47E2-948F-7FF9370400A3}" presName="level2Shape" presStyleLbl="asst1" presStyleIdx="0" presStyleCnt="8"/>
      <dgm:spPr/>
    </dgm:pt>
    <dgm:pt modelId="{06B3CF02-61EC-4FD5-8F08-0FBF6097B808}" type="pres">
      <dgm:prSet presAssocID="{1E81E9B4-AC06-47E2-948F-7FF9370400A3}" presName="hierChild3" presStyleCnt="0"/>
      <dgm:spPr/>
    </dgm:pt>
    <dgm:pt modelId="{54FC7E62-6BC8-4117-AE83-F7D461A58C56}" type="pres">
      <dgm:prSet presAssocID="{7CC9B32C-12C5-4169-B087-595C8A48B4F8}" presName="Name19" presStyleLbl="parChTrans1D2" presStyleIdx="2" presStyleCnt="7"/>
      <dgm:spPr/>
    </dgm:pt>
    <dgm:pt modelId="{31CDE861-2E03-41FC-BAB0-7E58EF755624}" type="pres">
      <dgm:prSet presAssocID="{0D417D08-4FBF-4067-AE00-49AC555E0C5B}" presName="Name21" presStyleCnt="0"/>
      <dgm:spPr/>
    </dgm:pt>
    <dgm:pt modelId="{536367F8-D6E7-40DA-B927-34B62F97962A}" type="pres">
      <dgm:prSet presAssocID="{0D417D08-4FBF-4067-AE00-49AC555E0C5B}" presName="level2Shape" presStyleLbl="asst1" presStyleIdx="1" presStyleCnt="8"/>
      <dgm:spPr/>
    </dgm:pt>
    <dgm:pt modelId="{CB791F18-8CFE-442F-BFBD-EF765C92AF3B}" type="pres">
      <dgm:prSet presAssocID="{0D417D08-4FBF-4067-AE00-49AC555E0C5B}" presName="hierChild3" presStyleCnt="0"/>
      <dgm:spPr/>
    </dgm:pt>
    <dgm:pt modelId="{8348335F-5BEF-45E6-9491-BE36F00A5827}" type="pres">
      <dgm:prSet presAssocID="{668AD6B7-A78E-4D72-8B81-3A80DF104F05}" presName="Name19" presStyleLbl="parChTrans1D2" presStyleIdx="3" presStyleCnt="7"/>
      <dgm:spPr/>
    </dgm:pt>
    <dgm:pt modelId="{D42A201D-B7E7-4CD9-9B50-D25D27FE443E}" type="pres">
      <dgm:prSet presAssocID="{8C0F6B1E-99DD-484F-9CBB-9F88518A86B5}" presName="Name21" presStyleCnt="0"/>
      <dgm:spPr/>
    </dgm:pt>
    <dgm:pt modelId="{2DF79E0D-2F54-4B1B-B9E0-B3F11AFE225E}" type="pres">
      <dgm:prSet presAssocID="{8C0F6B1E-99DD-484F-9CBB-9F88518A86B5}" presName="level2Shape" presStyleLbl="asst1" presStyleIdx="2" presStyleCnt="8"/>
      <dgm:spPr/>
    </dgm:pt>
    <dgm:pt modelId="{BE44DED4-CFD0-46FF-B3E8-440BBD265CAA}" type="pres">
      <dgm:prSet presAssocID="{8C0F6B1E-99DD-484F-9CBB-9F88518A86B5}" presName="hierChild3" presStyleCnt="0"/>
      <dgm:spPr/>
    </dgm:pt>
    <dgm:pt modelId="{6BEB96AB-5069-4522-8BFE-22AE1E1907A1}" type="pres">
      <dgm:prSet presAssocID="{8258E7A2-05F2-49E4-B3A6-F4702FB05F8A}" presName="Name19" presStyleLbl="parChTrans1D2" presStyleIdx="4" presStyleCnt="7"/>
      <dgm:spPr/>
    </dgm:pt>
    <dgm:pt modelId="{C03833A0-38F9-4B9D-91CE-742AB1C3F9B8}" type="pres">
      <dgm:prSet presAssocID="{DDFC3CEC-231C-49DE-8234-5A81205F633E}" presName="Name21" presStyleCnt="0"/>
      <dgm:spPr/>
    </dgm:pt>
    <dgm:pt modelId="{51E36B6D-BDD4-43C9-BE13-97A72EABE1BB}" type="pres">
      <dgm:prSet presAssocID="{DDFC3CEC-231C-49DE-8234-5A81205F633E}" presName="level2Shape" presStyleLbl="asst1" presStyleIdx="3" presStyleCnt="8"/>
      <dgm:spPr/>
    </dgm:pt>
    <dgm:pt modelId="{1C1DFDCA-7A9A-430B-9449-7A269E0F64BD}" type="pres">
      <dgm:prSet presAssocID="{DDFC3CEC-231C-49DE-8234-5A81205F633E}" presName="hierChild3" presStyleCnt="0"/>
      <dgm:spPr/>
    </dgm:pt>
    <dgm:pt modelId="{29F63BC1-C5FC-44AA-8F97-ECEF56FF0ECF}" type="pres">
      <dgm:prSet presAssocID="{4370DAB5-C489-492C-A122-928E36298688}" presName="Name19" presStyleLbl="parChTrans1D3" presStyleIdx="5" presStyleCnt="7"/>
      <dgm:spPr/>
    </dgm:pt>
    <dgm:pt modelId="{7367F945-8CC6-4E9C-B432-BAFB749846B7}" type="pres">
      <dgm:prSet presAssocID="{89E5375A-E5C4-4BAA-9A0A-D04D5C5FDCE1}" presName="Name21" presStyleCnt="0"/>
      <dgm:spPr/>
    </dgm:pt>
    <dgm:pt modelId="{509EF4D6-E038-4723-AE7F-3FAED8C2C122}" type="pres">
      <dgm:prSet presAssocID="{89E5375A-E5C4-4BAA-9A0A-D04D5C5FDCE1}" presName="level2Shape" presStyleLbl="asst1" presStyleIdx="4" presStyleCnt="8"/>
      <dgm:spPr/>
    </dgm:pt>
    <dgm:pt modelId="{08C71935-3CC2-4F82-9DCE-203E0657B591}" type="pres">
      <dgm:prSet presAssocID="{89E5375A-E5C4-4BAA-9A0A-D04D5C5FDCE1}" presName="hierChild3" presStyleCnt="0"/>
      <dgm:spPr/>
    </dgm:pt>
    <dgm:pt modelId="{A1CDEA6C-5A4D-425A-B7B4-C84037695A33}" type="pres">
      <dgm:prSet presAssocID="{4EE2EAB5-6A7E-48F2-98F8-E9C8AF624649}" presName="Name19" presStyleLbl="parChTrans1D3" presStyleIdx="6" presStyleCnt="7"/>
      <dgm:spPr/>
    </dgm:pt>
    <dgm:pt modelId="{AEF55D57-FC7B-4B1E-BDC7-D235D7BD4A4D}" type="pres">
      <dgm:prSet presAssocID="{28D1B84A-E065-40FD-BD5D-03D24AFCCF3D}" presName="Name21" presStyleCnt="0"/>
      <dgm:spPr/>
    </dgm:pt>
    <dgm:pt modelId="{512D3DA4-5AF8-45B2-9FCC-D6582DACED2F}" type="pres">
      <dgm:prSet presAssocID="{28D1B84A-E065-40FD-BD5D-03D24AFCCF3D}" presName="level2Shape" presStyleLbl="asst1" presStyleIdx="5" presStyleCnt="8"/>
      <dgm:spPr/>
    </dgm:pt>
    <dgm:pt modelId="{A39338D9-A703-4E4A-A1F8-CD16D98D5C73}" type="pres">
      <dgm:prSet presAssocID="{28D1B84A-E065-40FD-BD5D-03D24AFCCF3D}" presName="hierChild3" presStyleCnt="0"/>
      <dgm:spPr/>
    </dgm:pt>
    <dgm:pt modelId="{527B0E77-7EB2-429E-AE69-E261FDCB7833}" type="pres">
      <dgm:prSet presAssocID="{7CEBE2A4-1BCA-43F7-9303-C9876390EB0C}" presName="Name19" presStyleLbl="parChTrans1D2" presStyleIdx="5" presStyleCnt="7"/>
      <dgm:spPr/>
    </dgm:pt>
    <dgm:pt modelId="{0E4D7FF5-C4ED-47AB-8535-5C7B0A383F1F}" type="pres">
      <dgm:prSet presAssocID="{33CA82AC-5404-4B6C-9BE4-C3211DCC27D6}" presName="Name21" presStyleCnt="0"/>
      <dgm:spPr/>
    </dgm:pt>
    <dgm:pt modelId="{60C6DAC9-637D-431F-9AFD-95F84B4698A9}" type="pres">
      <dgm:prSet presAssocID="{33CA82AC-5404-4B6C-9BE4-C3211DCC27D6}" presName="level2Shape" presStyleLbl="asst1" presStyleIdx="6" presStyleCnt="8"/>
      <dgm:spPr/>
    </dgm:pt>
    <dgm:pt modelId="{526051A6-5F18-4055-A9D3-CA6749D9841E}" type="pres">
      <dgm:prSet presAssocID="{33CA82AC-5404-4B6C-9BE4-C3211DCC27D6}" presName="hierChild3" presStyleCnt="0"/>
      <dgm:spPr/>
    </dgm:pt>
    <dgm:pt modelId="{09C8B667-CAD7-4DC0-985B-9B8F058B52AE}" type="pres">
      <dgm:prSet presAssocID="{5E125E7F-2924-434E-8A12-D0BB81488294}" presName="Name19" presStyleLbl="parChTrans1D2" presStyleIdx="6" presStyleCnt="7"/>
      <dgm:spPr/>
    </dgm:pt>
    <dgm:pt modelId="{C4B81743-A1FC-4FB3-8757-BC64C1740D2B}" type="pres">
      <dgm:prSet presAssocID="{716DC358-E50A-4465-9552-0F542C15068C}" presName="Name21" presStyleCnt="0"/>
      <dgm:spPr/>
    </dgm:pt>
    <dgm:pt modelId="{91731D73-B433-4ECC-937E-D3F66E307A04}" type="pres">
      <dgm:prSet presAssocID="{716DC358-E50A-4465-9552-0F542C15068C}" presName="level2Shape" presStyleLbl="asst1" presStyleIdx="7" presStyleCnt="8"/>
      <dgm:spPr/>
    </dgm:pt>
    <dgm:pt modelId="{C4596AD7-D1B5-4631-997D-B312931C04C9}" type="pres">
      <dgm:prSet presAssocID="{716DC358-E50A-4465-9552-0F542C15068C}" presName="hierChild3" presStyleCnt="0"/>
      <dgm:spPr/>
    </dgm:pt>
    <dgm:pt modelId="{944D2ECF-FF7F-4937-9891-343B25FA2353}" type="pres">
      <dgm:prSet presAssocID="{6E762228-84FE-45B2-9BB6-19E98A9BB7EA}" presName="bgShapesFlow" presStyleCnt="0"/>
      <dgm:spPr/>
    </dgm:pt>
  </dgm:ptLst>
  <dgm:cxnLst>
    <dgm:cxn modelId="{EC6EF400-EB66-45DB-8643-AF5855C0C34C}" type="presOf" srcId="{B8064B35-238A-4C65-8D31-8EB550D8EE46}" destId="{BF248486-F648-4871-903F-93B482640036}" srcOrd="0" destOrd="0" presId="urn:microsoft.com/office/officeart/2005/8/layout/hierarchy6"/>
    <dgm:cxn modelId="{EE225A01-2F52-4A41-9540-B6F06EA0762F}" type="presOf" srcId="{1E81E9B4-AC06-47E2-948F-7FF9370400A3}" destId="{7A4578FB-65D7-4CEC-85A5-A7F539A655E7}" srcOrd="0" destOrd="0" presId="urn:microsoft.com/office/officeart/2005/8/layout/hierarchy6"/>
    <dgm:cxn modelId="{D3A04C03-CE91-402E-A8A5-730EF80A9FBA}" type="presOf" srcId="{0D417D08-4FBF-4067-AE00-49AC555E0C5B}" destId="{536367F8-D6E7-40DA-B927-34B62F97962A}" srcOrd="0" destOrd="0" presId="urn:microsoft.com/office/officeart/2005/8/layout/hierarchy6"/>
    <dgm:cxn modelId="{DEB09203-79E3-4D93-AF4D-5F65A9BC3EF2}" type="presOf" srcId="{270DB351-209F-44E3-AE5D-DD3AA05A8175}" destId="{8F552DA2-FC5B-40D6-B601-DCA076FAF8FB}" srcOrd="0" destOrd="0" presId="urn:microsoft.com/office/officeart/2005/8/layout/hierarchy6"/>
    <dgm:cxn modelId="{742FF205-1B4C-462C-ABBD-F2CB88EA006B}" srcId="{5E4D45D3-4EEE-44BF-BB04-85EB89632980}" destId="{5261F5C2-903F-4994-916A-72A90DAE7F2D}" srcOrd="2" destOrd="0" parTransId="{FAA45A8D-079A-4FAC-87D1-08D72268764D}" sibTransId="{EC32FA2C-6775-4014-B77E-A93B9C2EAE9C}"/>
    <dgm:cxn modelId="{7716060C-6212-4571-8FFD-5141AC57EA7E}" type="presOf" srcId="{8277FB8B-9D39-4CC5-BDEC-D3827308642F}" destId="{B4399AFE-2603-47B7-BCBC-A239B44C86F5}" srcOrd="0" destOrd="0" presId="urn:microsoft.com/office/officeart/2005/8/layout/hierarchy6"/>
    <dgm:cxn modelId="{9CE66014-C5FD-43F4-9E29-7F16A457F8B8}" type="presOf" srcId="{B0CDA07E-75AA-4E21-B99D-9A7EC2AC2297}" destId="{1FCB1E33-4F48-4A78-8612-EB7710CE8354}" srcOrd="0" destOrd="0" presId="urn:microsoft.com/office/officeart/2005/8/layout/hierarchy6"/>
    <dgm:cxn modelId="{5BB86615-8D47-4254-A5DC-9911F723CBF4}" type="presOf" srcId="{EC5624F3-2170-43DC-97A6-A153AC2072F1}" destId="{BF58BA63-FE57-4310-9773-8D919F0A46E5}"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F56A91A-1153-4932-8504-5E62188AEAC8}" srcId="{2787F9B9-D9EE-40F6-ABD4-C13F268A8AF1}" destId="{B0CDA07E-75AA-4E21-B99D-9A7EC2AC2297}" srcOrd="4" destOrd="0" parTransId="{27CC5377-3579-4E3E-8156-C39F82F5C364}" sibTransId="{5F20F1D6-8A88-425A-800F-2A5B575C67AC}"/>
    <dgm:cxn modelId="{B8617E25-688E-475B-8679-A1D87925804B}" srcId="{EC5624F3-2170-43DC-97A6-A153AC2072F1}" destId="{DDFC3CEC-231C-49DE-8234-5A81205F633E}" srcOrd="4" destOrd="0" parTransId="{8258E7A2-05F2-49E4-B3A6-F4702FB05F8A}" sibTransId="{AFF9EF7A-8DCE-46EC-BFDE-38B86F0B3FAA}"/>
    <dgm:cxn modelId="{6D4B0141-C6C4-41B8-B199-554602B5062C}" type="presOf" srcId="{5E4D45D3-4EEE-44BF-BB04-85EB89632980}" destId="{01027D77-40B4-492F-B9BC-73968B2B92A0}" srcOrd="0" destOrd="0" presId="urn:microsoft.com/office/officeart/2005/8/layout/hierarchy6"/>
    <dgm:cxn modelId="{08314642-1431-4067-B9A0-6D9945753515}" srcId="{EC5624F3-2170-43DC-97A6-A153AC2072F1}" destId="{2787F9B9-D9EE-40F6-ABD4-C13F268A8AF1}" srcOrd="0" destOrd="0" parTransId="{DAF4A804-FF79-40DF-805D-58E5C402C862}" sibTransId="{DDB7192C-92EF-4E0B-903F-AD6D902F08C6}"/>
    <dgm:cxn modelId="{2E937242-79E4-4644-89D9-2C592367D380}" type="presOf" srcId="{28D1B84A-E065-40FD-BD5D-03D24AFCCF3D}" destId="{512D3DA4-5AF8-45B2-9FCC-D6582DACED2F}" srcOrd="0" destOrd="0" presId="urn:microsoft.com/office/officeart/2005/8/layout/hierarchy6"/>
    <dgm:cxn modelId="{7CC43844-8375-4BC3-BBEE-6822921E2991}" srcId="{EC5624F3-2170-43DC-97A6-A153AC2072F1}" destId="{716DC358-E50A-4465-9552-0F542C15068C}" srcOrd="6" destOrd="0" parTransId="{5E125E7F-2924-434E-8A12-D0BB81488294}" sibTransId="{A72B7E00-C70C-42CA-9F52-F69093192028}"/>
    <dgm:cxn modelId="{37A8C165-C989-4E4B-964F-EBE3360E6646}" srcId="{DDFC3CEC-231C-49DE-8234-5A81205F633E}" destId="{28D1B84A-E065-40FD-BD5D-03D24AFCCF3D}" srcOrd="1" destOrd="0" parTransId="{4EE2EAB5-6A7E-48F2-98F8-E9C8AF624649}" sibTransId="{34CF20BC-F95D-4F09-A4FE-EF010505E83B}"/>
    <dgm:cxn modelId="{EDF7EA4A-10A6-4ED1-82BC-7C38ECBDFC44}" type="presOf" srcId="{69703607-1CEF-4962-A22B-C8239D13F2F4}" destId="{52433208-80E6-4924-B192-66BA710CE757}" srcOrd="0" destOrd="0" presId="urn:microsoft.com/office/officeart/2005/8/layout/hierarchy6"/>
    <dgm:cxn modelId="{FBC6894D-0D43-4395-976D-9CA619A32989}" srcId="{EC5624F3-2170-43DC-97A6-A153AC2072F1}" destId="{33CA82AC-5404-4B6C-9BE4-C3211DCC27D6}" srcOrd="5" destOrd="0" parTransId="{7CEBE2A4-1BCA-43F7-9303-C9876390EB0C}" sibTransId="{977137EC-A4E9-4B92-9F5C-C7C3E29C2F83}"/>
    <dgm:cxn modelId="{7FDD7555-2565-4071-ACB8-ED9C704D5338}" srcId="{6E762228-84FE-45B2-9BB6-19E98A9BB7EA}" destId="{EC5624F3-2170-43DC-97A6-A153AC2072F1}" srcOrd="0" destOrd="0" parTransId="{C80E803B-64F4-4A30-87D2-8ED88166C688}" sibTransId="{A7EC1166-0957-45DC-A9BA-8700F8AB8D72}"/>
    <dgm:cxn modelId="{47550056-B9BF-42F2-A85B-C9B36B21E767}" srcId="{2787F9B9-D9EE-40F6-ABD4-C13F268A8AF1}" destId="{8277FB8B-9D39-4CC5-BDEC-D3827308642F}" srcOrd="1" destOrd="0" parTransId="{69703607-1CEF-4962-A22B-C8239D13F2F4}" sibTransId="{B7F48C3C-2138-401F-8EBB-A2B410C5EF6D}"/>
    <dgm:cxn modelId="{FBDB4D56-4DBC-4B10-8516-DF739FEDA8A0}" type="presOf" srcId="{DDFC3CEC-231C-49DE-8234-5A81205F633E}" destId="{51E36B6D-BDD4-43C9-BE13-97A72EABE1BB}" srcOrd="0" destOrd="0" presId="urn:microsoft.com/office/officeart/2005/8/layout/hierarchy6"/>
    <dgm:cxn modelId="{D2285F77-70AE-4381-B1CA-B50F3DB313C9}" type="presOf" srcId="{4EE2EAB5-6A7E-48F2-98F8-E9C8AF624649}" destId="{A1CDEA6C-5A4D-425A-B7B4-C84037695A33}" srcOrd="0" destOrd="0" presId="urn:microsoft.com/office/officeart/2005/8/layout/hierarchy6"/>
    <dgm:cxn modelId="{AF510379-0EC2-48F4-96CD-A1E088E4B952}" srcId="{EC5624F3-2170-43DC-97A6-A153AC2072F1}" destId="{8C0F6B1E-99DD-484F-9CBB-9F88518A86B5}" srcOrd="3" destOrd="0" parTransId="{668AD6B7-A78E-4D72-8B81-3A80DF104F05}" sibTransId="{36865691-6BD6-4BAF-B077-D21E52EAEB2F}"/>
    <dgm:cxn modelId="{CF547479-DB1A-4EDB-8110-672617BA1145}" type="presOf" srcId="{861DEF92-2271-49BB-8DAC-23DA80D99B90}" destId="{F97BDF46-D920-42CC-AE1D-3430A1C11D9E}" srcOrd="0" destOrd="0" presId="urn:microsoft.com/office/officeart/2005/8/layout/hierarchy6"/>
    <dgm:cxn modelId="{0C8C777A-95D7-42BF-840E-D461EDAE87FA}" type="presOf" srcId="{716DC358-E50A-4465-9552-0F542C15068C}" destId="{91731D73-B433-4ECC-937E-D3F66E307A04}" srcOrd="0" destOrd="0" presId="urn:microsoft.com/office/officeart/2005/8/layout/hierarchy6"/>
    <dgm:cxn modelId="{F5D0A57F-67E1-4DBB-935C-3FF2AF202946}" srcId="{EC5624F3-2170-43DC-97A6-A153AC2072F1}" destId="{1E81E9B4-AC06-47E2-948F-7FF9370400A3}" srcOrd="1" destOrd="0" parTransId="{7E8BFC1C-609E-4A2A-A6DE-56B66744C355}" sibTransId="{46B4FF83-1DDF-4FD3-B148-A2D558555791}"/>
    <dgm:cxn modelId="{8A7ED37F-3E42-48DA-B0A8-4C57B24C5986}" type="presOf" srcId="{7E8BFC1C-609E-4A2A-A6DE-56B66744C355}" destId="{54FE398B-EB4B-4376-8CAD-D5884C340DB3}" srcOrd="0" destOrd="0" presId="urn:microsoft.com/office/officeart/2005/8/layout/hierarchy6"/>
    <dgm:cxn modelId="{3B185282-4DAB-4C10-A7E7-21EEFCA76B4B}" srcId="{2787F9B9-D9EE-40F6-ABD4-C13F268A8AF1}" destId="{5E4D45D3-4EEE-44BF-BB04-85EB89632980}" srcOrd="2" destOrd="0" parTransId="{B8064B35-238A-4C65-8D31-8EB550D8EE46}" sibTransId="{65BAB6D8-2E20-414D-8678-C7623740EA0B}"/>
    <dgm:cxn modelId="{7E8B6988-AC2C-4577-8ACF-52A105CA95A0}" type="presOf" srcId="{DAF4A804-FF79-40DF-805D-58E5C402C862}" destId="{2A969FB1-A0CA-4BCB-9811-B1C2A2D37CF2}" srcOrd="0" destOrd="0" presId="urn:microsoft.com/office/officeart/2005/8/layout/hierarchy6"/>
    <dgm:cxn modelId="{D123C888-CB7E-41C5-8703-6A7DC41DD0F3}" type="presOf" srcId="{27CC5377-3579-4E3E-8156-C39F82F5C364}" destId="{BC3E3219-39C3-4268-83EE-67E130107410}" srcOrd="0" destOrd="0" presId="urn:microsoft.com/office/officeart/2005/8/layout/hierarchy6"/>
    <dgm:cxn modelId="{AD5CDF8B-53D7-42D2-B5BE-EC31C4EC75BE}" type="presOf" srcId="{691A60E3-A9F1-4BB7-B61A-8AFCF7412C11}" destId="{D0464A9B-83F7-4A2D-94B3-57ED5F3C091B}" srcOrd="0" destOrd="0" presId="urn:microsoft.com/office/officeart/2005/8/layout/hierarchy6"/>
    <dgm:cxn modelId="{66E7E48D-8637-49EB-B728-7A632922E646}" type="presOf" srcId="{7CEBE2A4-1BCA-43F7-9303-C9876390EB0C}" destId="{527B0E77-7EB2-429E-AE69-E261FDCB7833}" srcOrd="0" destOrd="0" presId="urn:microsoft.com/office/officeart/2005/8/layout/hierarchy6"/>
    <dgm:cxn modelId="{ED1F2096-4928-40C7-B37F-5A6E93633F35}" type="presOf" srcId="{5E125E7F-2924-434E-8A12-D0BB81488294}" destId="{09C8B667-CAD7-4DC0-985B-9B8F058B52AE}" srcOrd="0" destOrd="0" presId="urn:microsoft.com/office/officeart/2005/8/layout/hierarchy6"/>
    <dgm:cxn modelId="{2FDF8B99-FC59-406B-A1FD-8AF9C9CEA3D4}" srcId="{2787F9B9-D9EE-40F6-ABD4-C13F268A8AF1}" destId="{861DEF92-2271-49BB-8DAC-23DA80D99B90}" srcOrd="3" destOrd="0" parTransId="{691A60E3-A9F1-4BB7-B61A-8AFCF7412C11}" sibTransId="{5CBBAEA1-BB2D-4AFA-BEF6-8B6D03DE3CFE}"/>
    <dgm:cxn modelId="{DBC8BA9B-FEAA-410A-A05D-63D9F3A8AD37}" type="presOf" srcId="{668AD6B7-A78E-4D72-8B81-3A80DF104F05}" destId="{8348335F-5BEF-45E6-9491-BE36F00A5827}" srcOrd="0" destOrd="0" presId="urn:microsoft.com/office/officeart/2005/8/layout/hierarchy6"/>
    <dgm:cxn modelId="{270F6DA7-77B7-4E7A-9305-F919D8E34072}" type="presOf" srcId="{8258E7A2-05F2-49E4-B3A6-F4702FB05F8A}" destId="{6BEB96AB-5069-4522-8BFE-22AE1E1907A1}" srcOrd="0" destOrd="0" presId="urn:microsoft.com/office/officeart/2005/8/layout/hierarchy6"/>
    <dgm:cxn modelId="{EEB4EFA7-0F0C-4365-AC60-BD498F52B8FE}" type="presOf" srcId="{05BCB79C-BFFC-40EA-AC08-07E846FCF786}" destId="{527787B6-C2E1-41AC-8A63-E0D44F6095FA}" srcOrd="0" destOrd="0" presId="urn:microsoft.com/office/officeart/2005/8/layout/hierarchy6"/>
    <dgm:cxn modelId="{1E4DA8B1-E9F0-43C1-BEC1-18EDB14A24C7}" type="presOf" srcId="{89E5375A-E5C4-4BAA-9A0A-D04D5C5FDCE1}" destId="{509EF4D6-E038-4723-AE7F-3FAED8C2C122}" srcOrd="0" destOrd="0" presId="urn:microsoft.com/office/officeart/2005/8/layout/hierarchy6"/>
    <dgm:cxn modelId="{C506F7B7-8DC7-4B08-BEBD-08F750795196}" type="presOf" srcId="{8C0F6B1E-99DD-484F-9CBB-9F88518A86B5}" destId="{2DF79E0D-2F54-4B1B-B9E0-B3F11AFE225E}" srcOrd="0" destOrd="0" presId="urn:microsoft.com/office/officeart/2005/8/layout/hierarchy6"/>
    <dgm:cxn modelId="{ACE7E8B8-AD19-4502-80DC-1E0EC3A3A83F}" type="presOf" srcId="{5261F5C2-903F-4994-916A-72A90DAE7F2D}" destId="{82B5BF8B-57A2-4E22-AA4A-CDE9EE34C77B}" srcOrd="0" destOrd="0" presId="urn:microsoft.com/office/officeart/2005/8/layout/hierarchy6"/>
    <dgm:cxn modelId="{E611D1D2-E2D2-4CA1-B835-18FCE113CC7B}" srcId="{DDFC3CEC-231C-49DE-8234-5A81205F633E}" destId="{89E5375A-E5C4-4BAA-9A0A-D04D5C5FDCE1}" srcOrd="0" destOrd="0" parTransId="{4370DAB5-C489-492C-A122-928E36298688}" sibTransId="{F2835A1B-9DA3-4CFB-8287-85F1ABC7BA78}"/>
    <dgm:cxn modelId="{F3C015D5-1779-4996-B522-94D19EDBB0F7}" type="presOf" srcId="{FAA45A8D-079A-4FAC-87D1-08D72268764D}" destId="{5CC0C396-8377-475C-A00D-7F8341A1F477}" srcOrd="0" destOrd="0" presId="urn:microsoft.com/office/officeart/2005/8/layout/hierarchy6"/>
    <dgm:cxn modelId="{91810EE0-6BCF-4263-AA2F-DB283FC2EB3D}" type="presOf" srcId="{9D361AED-F287-426D-889C-035A581FCAD4}" destId="{9B0BC5A7-6A70-41C3-871D-416E6CE7FB15}" srcOrd="0" destOrd="0" presId="urn:microsoft.com/office/officeart/2005/8/layout/hierarchy6"/>
    <dgm:cxn modelId="{EFC364E8-71F1-4B89-AE5A-2882920EF443}" srcId="{5E4D45D3-4EEE-44BF-BB04-85EB89632980}" destId="{270DB351-209F-44E3-AE5D-DD3AA05A8175}" srcOrd="0" destOrd="0" parTransId="{B2937768-267F-4FD0-B209-ADCABB3F2609}" sibTransId="{61AB407C-BF26-4766-9709-693A5355340D}"/>
    <dgm:cxn modelId="{1B504EE9-3243-4559-9F55-F693B856E65E}" srcId="{5E4D45D3-4EEE-44BF-BB04-85EB89632980}" destId="{05BCB79C-BFFC-40EA-AC08-07E846FCF786}" srcOrd="1" destOrd="0" parTransId="{65EFF804-408F-48C0-9772-30C0A76E5CEE}" sibTransId="{E05952B9-F3FF-4088-AB3E-BE9A831EDAA0}"/>
    <dgm:cxn modelId="{D3BC09EF-6CEA-42CE-B968-B9690400E296}" type="presOf" srcId="{2787F9B9-D9EE-40F6-ABD4-C13F268A8AF1}" destId="{4AC8CF5E-1D5D-4BBE-AAC6-1A65B9CD9224}" srcOrd="0" destOrd="0" presId="urn:microsoft.com/office/officeart/2005/8/layout/hierarchy6"/>
    <dgm:cxn modelId="{5A0D82F4-4662-4275-8375-3728D0E86CC0}" type="presOf" srcId="{4370DAB5-C489-492C-A122-928E36298688}" destId="{29F63BC1-C5FC-44AA-8F97-ECEF56FF0ECF}" srcOrd="0" destOrd="0" presId="urn:microsoft.com/office/officeart/2005/8/layout/hierarchy6"/>
    <dgm:cxn modelId="{22EDA9F4-206F-42B8-A035-6F1B7BDC4BA8}" type="presOf" srcId="{33CA82AC-5404-4B6C-9BE4-C3211DCC27D6}" destId="{60C6DAC9-637D-431F-9AFD-95F84B4698A9}" srcOrd="0" destOrd="0" presId="urn:microsoft.com/office/officeart/2005/8/layout/hierarchy6"/>
    <dgm:cxn modelId="{361091F6-F150-4944-9179-958070BF5016}" srcId="{EC5624F3-2170-43DC-97A6-A153AC2072F1}" destId="{0D417D08-4FBF-4067-AE00-49AC555E0C5B}" srcOrd="2" destOrd="0" parTransId="{7CC9B32C-12C5-4169-B087-595C8A48B4F8}" sibTransId="{3F8FBFB1-A037-4F4B-ABEC-A34AE5D26573}"/>
    <dgm:cxn modelId="{21A9D5F9-2B4F-4172-8583-AAEE932CE60B}" type="presOf" srcId="{B2937768-267F-4FD0-B209-ADCABB3F2609}" destId="{5690923D-9059-4138-8ACF-90D405019F80}" srcOrd="0" destOrd="0" presId="urn:microsoft.com/office/officeart/2005/8/layout/hierarchy6"/>
    <dgm:cxn modelId="{8EE8B4FB-9F00-49F3-93F2-BD74E32AB9B4}" type="presOf" srcId="{7CC9B32C-12C5-4169-B087-595C8A48B4F8}" destId="{54FC7E62-6BC8-4117-AE83-F7D461A58C56}" srcOrd="0" destOrd="0" presId="urn:microsoft.com/office/officeart/2005/8/layout/hierarchy6"/>
    <dgm:cxn modelId="{CC5458FE-95C6-4C37-8189-0180F3CD5281}" type="presOf" srcId="{D84DD7AB-A1C4-4A77-B583-CCF2DADB3362}" destId="{A26B365E-E5E1-416D-9FD8-97105F38CB63}" srcOrd="0" destOrd="0" presId="urn:microsoft.com/office/officeart/2005/8/layout/hierarchy6"/>
    <dgm:cxn modelId="{98D4B4FE-4A0E-4B15-871B-3DADAF242C7A}" type="presOf" srcId="{65EFF804-408F-48C0-9772-30C0A76E5CEE}" destId="{810926B5-7D25-4DDF-8B56-5D578BE910C7}"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E6D5BCC8-D169-4FB7-8898-3D3B77B5CE68}" type="presParOf" srcId="{6349854C-26F9-4527-A34B-FF8105524D97}" destId="{9C440C2D-186C-483D-9114-0BEB37C9BBB0}" srcOrd="0" destOrd="0" presId="urn:microsoft.com/office/officeart/2005/8/layout/hierarchy6"/>
    <dgm:cxn modelId="{B2E503FE-C0B5-47F4-AE19-1846877C324D}" type="presParOf" srcId="{9C440C2D-186C-483D-9114-0BEB37C9BBB0}" destId="{BF58BA63-FE57-4310-9773-8D919F0A46E5}" srcOrd="0" destOrd="0" presId="urn:microsoft.com/office/officeart/2005/8/layout/hierarchy6"/>
    <dgm:cxn modelId="{A3B4B3E1-A4AF-4F9F-90D8-CFE654B8E874}" type="presParOf" srcId="{9C440C2D-186C-483D-9114-0BEB37C9BBB0}" destId="{A65EEE17-B142-4395-9440-82681C1ADA87}" srcOrd="1" destOrd="0" presId="urn:microsoft.com/office/officeart/2005/8/layout/hierarchy6"/>
    <dgm:cxn modelId="{19CA976B-7889-46FA-88DE-71168301CA77}" type="presParOf" srcId="{A65EEE17-B142-4395-9440-82681C1ADA87}" destId="{2A969FB1-A0CA-4BCB-9811-B1C2A2D37CF2}" srcOrd="0" destOrd="0" presId="urn:microsoft.com/office/officeart/2005/8/layout/hierarchy6"/>
    <dgm:cxn modelId="{9C722C92-0BBC-4F7F-BC96-BA2D6C900645}" type="presParOf" srcId="{A65EEE17-B142-4395-9440-82681C1ADA87}" destId="{C3EFDF95-9A92-436A-B74A-D10E620D8558}" srcOrd="1" destOrd="0" presId="urn:microsoft.com/office/officeart/2005/8/layout/hierarchy6"/>
    <dgm:cxn modelId="{6635368F-5C50-48D5-A094-DF3DD893A99C}" type="presParOf" srcId="{C3EFDF95-9A92-436A-B74A-D10E620D8558}" destId="{4AC8CF5E-1D5D-4BBE-AAC6-1A65B9CD9224}" srcOrd="0" destOrd="0" presId="urn:microsoft.com/office/officeart/2005/8/layout/hierarchy6"/>
    <dgm:cxn modelId="{746884A4-3E2D-4236-9B60-8B1BF9B9D752}" type="presParOf" srcId="{C3EFDF95-9A92-436A-B74A-D10E620D8558}" destId="{4C118CD9-0F4D-4592-8997-BCE0C79E8E72}" srcOrd="1" destOrd="0" presId="urn:microsoft.com/office/officeart/2005/8/layout/hierarchy6"/>
    <dgm:cxn modelId="{804EA86D-2279-426A-B804-4E508811E39B}" type="presParOf" srcId="{4C118CD9-0F4D-4592-8997-BCE0C79E8E72}" destId="{9B0BC5A7-6A70-41C3-871D-416E6CE7FB15}" srcOrd="0" destOrd="0" presId="urn:microsoft.com/office/officeart/2005/8/layout/hierarchy6"/>
    <dgm:cxn modelId="{83BAB58D-DB5F-483A-A499-DA647D2A7E74}" type="presParOf" srcId="{4C118CD9-0F4D-4592-8997-BCE0C79E8E72}" destId="{82EC63D1-694F-4FFF-9E6D-6674B591884B}" srcOrd="1" destOrd="0" presId="urn:microsoft.com/office/officeart/2005/8/layout/hierarchy6"/>
    <dgm:cxn modelId="{D4E70B1E-7373-4956-B665-5CB483EBA01D}" type="presParOf" srcId="{82EC63D1-694F-4FFF-9E6D-6674B591884B}" destId="{A26B365E-E5E1-416D-9FD8-97105F38CB63}" srcOrd="0" destOrd="0" presId="urn:microsoft.com/office/officeart/2005/8/layout/hierarchy6"/>
    <dgm:cxn modelId="{9A73A220-1999-4634-A51B-26A9862F7FD6}" type="presParOf" srcId="{82EC63D1-694F-4FFF-9E6D-6674B591884B}" destId="{D32E83C3-191F-40F1-AF6A-A970805EBE25}" srcOrd="1" destOrd="0" presId="urn:microsoft.com/office/officeart/2005/8/layout/hierarchy6"/>
    <dgm:cxn modelId="{D291F541-5C10-4BC8-AE13-F58FE19111A7}" type="presParOf" srcId="{4C118CD9-0F4D-4592-8997-BCE0C79E8E72}" destId="{52433208-80E6-4924-B192-66BA710CE757}" srcOrd="2" destOrd="0" presId="urn:microsoft.com/office/officeart/2005/8/layout/hierarchy6"/>
    <dgm:cxn modelId="{B1376EA0-F06D-4D70-A1A7-A6308192A396}" type="presParOf" srcId="{4C118CD9-0F4D-4592-8997-BCE0C79E8E72}" destId="{74EF38D0-35A5-46DE-BF51-2FE421E3C217}" srcOrd="3" destOrd="0" presId="urn:microsoft.com/office/officeart/2005/8/layout/hierarchy6"/>
    <dgm:cxn modelId="{601F0275-C593-4098-A02B-63E5AF162ADF}" type="presParOf" srcId="{74EF38D0-35A5-46DE-BF51-2FE421E3C217}" destId="{B4399AFE-2603-47B7-BCBC-A239B44C86F5}" srcOrd="0" destOrd="0" presId="urn:microsoft.com/office/officeart/2005/8/layout/hierarchy6"/>
    <dgm:cxn modelId="{48C1B2D0-46B5-46E7-978C-2468E0C976A5}" type="presParOf" srcId="{74EF38D0-35A5-46DE-BF51-2FE421E3C217}" destId="{B89EE319-8A68-4B6F-A445-40F4B0A04EE8}" srcOrd="1" destOrd="0" presId="urn:microsoft.com/office/officeart/2005/8/layout/hierarchy6"/>
    <dgm:cxn modelId="{2A06FEF0-BCA7-4591-916B-7ED94D05FBA2}" type="presParOf" srcId="{4C118CD9-0F4D-4592-8997-BCE0C79E8E72}" destId="{BF248486-F648-4871-903F-93B482640036}" srcOrd="4" destOrd="0" presId="urn:microsoft.com/office/officeart/2005/8/layout/hierarchy6"/>
    <dgm:cxn modelId="{35740144-D3B0-4EF1-9B60-3AC5B25FA89B}" type="presParOf" srcId="{4C118CD9-0F4D-4592-8997-BCE0C79E8E72}" destId="{6FE122D2-6752-431D-8724-80CE50A9C31E}" srcOrd="5" destOrd="0" presId="urn:microsoft.com/office/officeart/2005/8/layout/hierarchy6"/>
    <dgm:cxn modelId="{AE17197E-CDF0-441F-9B31-EA8D14C2EC11}" type="presParOf" srcId="{6FE122D2-6752-431D-8724-80CE50A9C31E}" destId="{01027D77-40B4-492F-B9BC-73968B2B92A0}" srcOrd="0" destOrd="0" presId="urn:microsoft.com/office/officeart/2005/8/layout/hierarchy6"/>
    <dgm:cxn modelId="{EC9BDDC5-7ED9-4E92-AB8E-AC0C6E6B66A9}" type="presParOf" srcId="{6FE122D2-6752-431D-8724-80CE50A9C31E}" destId="{6E2C3CF8-B46E-4FFF-82FC-557F555F00ED}" srcOrd="1" destOrd="0" presId="urn:microsoft.com/office/officeart/2005/8/layout/hierarchy6"/>
    <dgm:cxn modelId="{70E9D8A1-5CED-409A-A46E-2A5F01B9B0EB}" type="presParOf" srcId="{6E2C3CF8-B46E-4FFF-82FC-557F555F00ED}" destId="{5690923D-9059-4138-8ACF-90D405019F80}" srcOrd="0" destOrd="0" presId="urn:microsoft.com/office/officeart/2005/8/layout/hierarchy6"/>
    <dgm:cxn modelId="{595653C3-4FC1-46DC-9381-525E772574A9}" type="presParOf" srcId="{6E2C3CF8-B46E-4FFF-82FC-557F555F00ED}" destId="{2A332E69-B5C0-4A68-B4C3-29696724CD01}" srcOrd="1" destOrd="0" presId="urn:microsoft.com/office/officeart/2005/8/layout/hierarchy6"/>
    <dgm:cxn modelId="{49150F22-75D2-4F66-9530-9C55CEA405D3}" type="presParOf" srcId="{2A332E69-B5C0-4A68-B4C3-29696724CD01}" destId="{8F552DA2-FC5B-40D6-B601-DCA076FAF8FB}" srcOrd="0" destOrd="0" presId="urn:microsoft.com/office/officeart/2005/8/layout/hierarchy6"/>
    <dgm:cxn modelId="{3A2A4292-B85A-43C5-969C-3597616AF2B1}" type="presParOf" srcId="{2A332E69-B5C0-4A68-B4C3-29696724CD01}" destId="{330902C9-A030-4F0E-8F44-4D46DA5BCFB1}" srcOrd="1" destOrd="0" presId="urn:microsoft.com/office/officeart/2005/8/layout/hierarchy6"/>
    <dgm:cxn modelId="{3ED61304-FCEF-4412-B47E-54EFC8E668D8}" type="presParOf" srcId="{6E2C3CF8-B46E-4FFF-82FC-557F555F00ED}" destId="{810926B5-7D25-4DDF-8B56-5D578BE910C7}" srcOrd="2" destOrd="0" presId="urn:microsoft.com/office/officeart/2005/8/layout/hierarchy6"/>
    <dgm:cxn modelId="{CBB7D5C2-A1BE-4081-90C8-0613EE908188}" type="presParOf" srcId="{6E2C3CF8-B46E-4FFF-82FC-557F555F00ED}" destId="{DCFF6636-F58C-477D-8963-805BCD844A5F}" srcOrd="3" destOrd="0" presId="urn:microsoft.com/office/officeart/2005/8/layout/hierarchy6"/>
    <dgm:cxn modelId="{46A9D569-44FB-4603-A1DE-3749D71666DA}" type="presParOf" srcId="{DCFF6636-F58C-477D-8963-805BCD844A5F}" destId="{527787B6-C2E1-41AC-8A63-E0D44F6095FA}" srcOrd="0" destOrd="0" presId="urn:microsoft.com/office/officeart/2005/8/layout/hierarchy6"/>
    <dgm:cxn modelId="{96881E38-D756-4564-B615-FB9DDE54BA4F}" type="presParOf" srcId="{DCFF6636-F58C-477D-8963-805BCD844A5F}" destId="{89915CAD-8C75-4E3F-960D-6AB98D0B74F4}" srcOrd="1" destOrd="0" presId="urn:microsoft.com/office/officeart/2005/8/layout/hierarchy6"/>
    <dgm:cxn modelId="{5ACEBE39-C8F9-4D9D-B65C-29ACC33CB00B}" type="presParOf" srcId="{6E2C3CF8-B46E-4FFF-82FC-557F555F00ED}" destId="{5CC0C396-8377-475C-A00D-7F8341A1F477}" srcOrd="4" destOrd="0" presId="urn:microsoft.com/office/officeart/2005/8/layout/hierarchy6"/>
    <dgm:cxn modelId="{22E2DF70-B8DA-4A06-9B01-D93E0D69202A}" type="presParOf" srcId="{6E2C3CF8-B46E-4FFF-82FC-557F555F00ED}" destId="{20755089-D219-4FE9-8B97-A1923491F114}" srcOrd="5" destOrd="0" presId="urn:microsoft.com/office/officeart/2005/8/layout/hierarchy6"/>
    <dgm:cxn modelId="{C4244724-E8AB-4C0E-BCB2-D3E6F03C1423}" type="presParOf" srcId="{20755089-D219-4FE9-8B97-A1923491F114}" destId="{82B5BF8B-57A2-4E22-AA4A-CDE9EE34C77B}" srcOrd="0" destOrd="0" presId="urn:microsoft.com/office/officeart/2005/8/layout/hierarchy6"/>
    <dgm:cxn modelId="{97FB66B7-63D9-48A5-8477-402E8D0FB8D8}" type="presParOf" srcId="{20755089-D219-4FE9-8B97-A1923491F114}" destId="{65955D25-5FF5-4C6B-92DA-30B6843FBE65}" srcOrd="1" destOrd="0" presId="urn:microsoft.com/office/officeart/2005/8/layout/hierarchy6"/>
    <dgm:cxn modelId="{675E7011-6AA8-4F53-9881-3A5C65D311B5}" type="presParOf" srcId="{4C118CD9-0F4D-4592-8997-BCE0C79E8E72}" destId="{D0464A9B-83F7-4A2D-94B3-57ED5F3C091B}" srcOrd="6" destOrd="0" presId="urn:microsoft.com/office/officeart/2005/8/layout/hierarchy6"/>
    <dgm:cxn modelId="{5814AC90-5C46-44C9-80F7-DD57F876A51A}" type="presParOf" srcId="{4C118CD9-0F4D-4592-8997-BCE0C79E8E72}" destId="{EDF5D77A-4E31-4D23-9F30-FCF2FFED1E70}" srcOrd="7" destOrd="0" presId="urn:microsoft.com/office/officeart/2005/8/layout/hierarchy6"/>
    <dgm:cxn modelId="{36B17E52-3FAA-4620-BD52-FD4A5AA158DE}" type="presParOf" srcId="{EDF5D77A-4E31-4D23-9F30-FCF2FFED1E70}" destId="{F97BDF46-D920-42CC-AE1D-3430A1C11D9E}" srcOrd="0" destOrd="0" presId="urn:microsoft.com/office/officeart/2005/8/layout/hierarchy6"/>
    <dgm:cxn modelId="{4EF6AA15-284C-4ACF-A991-D31F4F899255}" type="presParOf" srcId="{EDF5D77A-4E31-4D23-9F30-FCF2FFED1E70}" destId="{09D64436-1B52-4BBB-9DC6-394FE685D216}" srcOrd="1" destOrd="0" presId="urn:microsoft.com/office/officeart/2005/8/layout/hierarchy6"/>
    <dgm:cxn modelId="{B1ED6C3A-2A56-4D1A-A7DB-DDEC41C98572}" type="presParOf" srcId="{4C118CD9-0F4D-4592-8997-BCE0C79E8E72}" destId="{BC3E3219-39C3-4268-83EE-67E130107410}" srcOrd="8" destOrd="0" presId="urn:microsoft.com/office/officeart/2005/8/layout/hierarchy6"/>
    <dgm:cxn modelId="{A7441902-5257-4D6E-9972-BA73F25D1390}" type="presParOf" srcId="{4C118CD9-0F4D-4592-8997-BCE0C79E8E72}" destId="{C0E1C8F5-8309-4D4E-8059-B9DE3FF0655D}" srcOrd="9" destOrd="0" presId="urn:microsoft.com/office/officeart/2005/8/layout/hierarchy6"/>
    <dgm:cxn modelId="{4EC52375-2D0D-4885-882C-1FD0720B3AF0}" type="presParOf" srcId="{C0E1C8F5-8309-4D4E-8059-B9DE3FF0655D}" destId="{1FCB1E33-4F48-4A78-8612-EB7710CE8354}" srcOrd="0" destOrd="0" presId="urn:microsoft.com/office/officeart/2005/8/layout/hierarchy6"/>
    <dgm:cxn modelId="{7F7A51D4-70FD-4805-9C84-D8A3246C3A59}" type="presParOf" srcId="{C0E1C8F5-8309-4D4E-8059-B9DE3FF0655D}" destId="{8AFE89C8-F601-4215-9EB3-699FC4157F3F}" srcOrd="1" destOrd="0" presId="urn:microsoft.com/office/officeart/2005/8/layout/hierarchy6"/>
    <dgm:cxn modelId="{353D24E6-5290-4293-91DE-3D3983568F6E}" type="presParOf" srcId="{A65EEE17-B142-4395-9440-82681C1ADA87}" destId="{54FE398B-EB4B-4376-8CAD-D5884C340DB3}" srcOrd="2" destOrd="0" presId="urn:microsoft.com/office/officeart/2005/8/layout/hierarchy6"/>
    <dgm:cxn modelId="{548B0342-3944-40CA-8C73-5DD5EF7718D9}" type="presParOf" srcId="{A65EEE17-B142-4395-9440-82681C1ADA87}" destId="{340CDDD0-A67E-4157-8216-8DBB2B39CE6F}" srcOrd="3" destOrd="0" presId="urn:microsoft.com/office/officeart/2005/8/layout/hierarchy6"/>
    <dgm:cxn modelId="{13514442-02CA-4758-9CA5-1D775B80FB8A}" type="presParOf" srcId="{340CDDD0-A67E-4157-8216-8DBB2B39CE6F}" destId="{7A4578FB-65D7-4CEC-85A5-A7F539A655E7}" srcOrd="0" destOrd="0" presId="urn:microsoft.com/office/officeart/2005/8/layout/hierarchy6"/>
    <dgm:cxn modelId="{5A02CB05-437C-4869-931C-89987FFC66E9}" type="presParOf" srcId="{340CDDD0-A67E-4157-8216-8DBB2B39CE6F}" destId="{06B3CF02-61EC-4FD5-8F08-0FBF6097B808}" srcOrd="1" destOrd="0" presId="urn:microsoft.com/office/officeart/2005/8/layout/hierarchy6"/>
    <dgm:cxn modelId="{B16F75D5-9911-4675-8593-3A810D6DC986}" type="presParOf" srcId="{A65EEE17-B142-4395-9440-82681C1ADA87}" destId="{54FC7E62-6BC8-4117-AE83-F7D461A58C56}" srcOrd="4" destOrd="0" presId="urn:microsoft.com/office/officeart/2005/8/layout/hierarchy6"/>
    <dgm:cxn modelId="{7E0FA62D-D0F3-4E5E-92EE-6EFA63C03AE6}" type="presParOf" srcId="{A65EEE17-B142-4395-9440-82681C1ADA87}" destId="{31CDE861-2E03-41FC-BAB0-7E58EF755624}" srcOrd="5" destOrd="0" presId="urn:microsoft.com/office/officeart/2005/8/layout/hierarchy6"/>
    <dgm:cxn modelId="{612F440B-4AA3-41A1-847A-838B44A2DBEB}" type="presParOf" srcId="{31CDE861-2E03-41FC-BAB0-7E58EF755624}" destId="{536367F8-D6E7-40DA-B927-34B62F97962A}" srcOrd="0" destOrd="0" presId="urn:microsoft.com/office/officeart/2005/8/layout/hierarchy6"/>
    <dgm:cxn modelId="{820EBEFB-D6DA-48FF-8C46-DB01BDA745CF}" type="presParOf" srcId="{31CDE861-2E03-41FC-BAB0-7E58EF755624}" destId="{CB791F18-8CFE-442F-BFBD-EF765C92AF3B}" srcOrd="1" destOrd="0" presId="urn:microsoft.com/office/officeart/2005/8/layout/hierarchy6"/>
    <dgm:cxn modelId="{1E1CCC3E-6B42-40A2-944B-C360B25BC589}" type="presParOf" srcId="{A65EEE17-B142-4395-9440-82681C1ADA87}" destId="{8348335F-5BEF-45E6-9491-BE36F00A5827}" srcOrd="6" destOrd="0" presId="urn:microsoft.com/office/officeart/2005/8/layout/hierarchy6"/>
    <dgm:cxn modelId="{A41DD5E4-92FB-4361-852F-8D76BC59B8DC}" type="presParOf" srcId="{A65EEE17-B142-4395-9440-82681C1ADA87}" destId="{D42A201D-B7E7-4CD9-9B50-D25D27FE443E}" srcOrd="7" destOrd="0" presId="urn:microsoft.com/office/officeart/2005/8/layout/hierarchy6"/>
    <dgm:cxn modelId="{ACA255F4-D4F6-4DE6-ADAF-9AB86339E6B3}" type="presParOf" srcId="{D42A201D-B7E7-4CD9-9B50-D25D27FE443E}" destId="{2DF79E0D-2F54-4B1B-B9E0-B3F11AFE225E}" srcOrd="0" destOrd="0" presId="urn:microsoft.com/office/officeart/2005/8/layout/hierarchy6"/>
    <dgm:cxn modelId="{8EB2C167-0DFF-49DD-993C-854D334DEAC3}" type="presParOf" srcId="{D42A201D-B7E7-4CD9-9B50-D25D27FE443E}" destId="{BE44DED4-CFD0-46FF-B3E8-440BBD265CAA}" srcOrd="1" destOrd="0" presId="urn:microsoft.com/office/officeart/2005/8/layout/hierarchy6"/>
    <dgm:cxn modelId="{6C70BF31-DC28-4376-A6A5-EDF654A927D5}" type="presParOf" srcId="{A65EEE17-B142-4395-9440-82681C1ADA87}" destId="{6BEB96AB-5069-4522-8BFE-22AE1E1907A1}" srcOrd="8" destOrd="0" presId="urn:microsoft.com/office/officeart/2005/8/layout/hierarchy6"/>
    <dgm:cxn modelId="{CFD5268B-1B30-4140-870E-E0D505D5F88B}" type="presParOf" srcId="{A65EEE17-B142-4395-9440-82681C1ADA87}" destId="{C03833A0-38F9-4B9D-91CE-742AB1C3F9B8}" srcOrd="9" destOrd="0" presId="urn:microsoft.com/office/officeart/2005/8/layout/hierarchy6"/>
    <dgm:cxn modelId="{FFCFB0F1-D7EE-4583-BF57-7EAF74F2CEEA}" type="presParOf" srcId="{C03833A0-38F9-4B9D-91CE-742AB1C3F9B8}" destId="{51E36B6D-BDD4-43C9-BE13-97A72EABE1BB}" srcOrd="0" destOrd="0" presId="urn:microsoft.com/office/officeart/2005/8/layout/hierarchy6"/>
    <dgm:cxn modelId="{53CBD572-0263-4541-A3D7-36359CB5CE62}" type="presParOf" srcId="{C03833A0-38F9-4B9D-91CE-742AB1C3F9B8}" destId="{1C1DFDCA-7A9A-430B-9449-7A269E0F64BD}" srcOrd="1" destOrd="0" presId="urn:microsoft.com/office/officeart/2005/8/layout/hierarchy6"/>
    <dgm:cxn modelId="{512B0DB2-22CA-4B59-9438-A50FA0A81844}" type="presParOf" srcId="{1C1DFDCA-7A9A-430B-9449-7A269E0F64BD}" destId="{29F63BC1-C5FC-44AA-8F97-ECEF56FF0ECF}" srcOrd="0" destOrd="0" presId="urn:microsoft.com/office/officeart/2005/8/layout/hierarchy6"/>
    <dgm:cxn modelId="{5E2A8BD1-D025-45CF-8359-100A59D21D06}" type="presParOf" srcId="{1C1DFDCA-7A9A-430B-9449-7A269E0F64BD}" destId="{7367F945-8CC6-4E9C-B432-BAFB749846B7}" srcOrd="1" destOrd="0" presId="urn:microsoft.com/office/officeart/2005/8/layout/hierarchy6"/>
    <dgm:cxn modelId="{60815271-F27E-44DA-82B9-1F603916A2C5}" type="presParOf" srcId="{7367F945-8CC6-4E9C-B432-BAFB749846B7}" destId="{509EF4D6-E038-4723-AE7F-3FAED8C2C122}" srcOrd="0" destOrd="0" presId="urn:microsoft.com/office/officeart/2005/8/layout/hierarchy6"/>
    <dgm:cxn modelId="{3E2DACA0-5E45-4E1E-B0CA-31FCEBE5EA4F}" type="presParOf" srcId="{7367F945-8CC6-4E9C-B432-BAFB749846B7}" destId="{08C71935-3CC2-4F82-9DCE-203E0657B591}" srcOrd="1" destOrd="0" presId="urn:microsoft.com/office/officeart/2005/8/layout/hierarchy6"/>
    <dgm:cxn modelId="{2E4738FB-C789-41ED-AA58-5C49FCB5C310}" type="presParOf" srcId="{1C1DFDCA-7A9A-430B-9449-7A269E0F64BD}" destId="{A1CDEA6C-5A4D-425A-B7B4-C84037695A33}" srcOrd="2" destOrd="0" presId="urn:microsoft.com/office/officeart/2005/8/layout/hierarchy6"/>
    <dgm:cxn modelId="{05BDDDA5-8493-466D-975B-739D3E09619D}" type="presParOf" srcId="{1C1DFDCA-7A9A-430B-9449-7A269E0F64BD}" destId="{AEF55D57-FC7B-4B1E-BDC7-D235D7BD4A4D}" srcOrd="3" destOrd="0" presId="urn:microsoft.com/office/officeart/2005/8/layout/hierarchy6"/>
    <dgm:cxn modelId="{DA407C52-5905-4BA8-848A-3593FC3EB281}" type="presParOf" srcId="{AEF55D57-FC7B-4B1E-BDC7-D235D7BD4A4D}" destId="{512D3DA4-5AF8-45B2-9FCC-D6582DACED2F}" srcOrd="0" destOrd="0" presId="urn:microsoft.com/office/officeart/2005/8/layout/hierarchy6"/>
    <dgm:cxn modelId="{08D27574-B563-49CE-B5EC-58E07F3C3192}" type="presParOf" srcId="{AEF55D57-FC7B-4B1E-BDC7-D235D7BD4A4D}" destId="{A39338D9-A703-4E4A-A1F8-CD16D98D5C73}" srcOrd="1" destOrd="0" presId="urn:microsoft.com/office/officeart/2005/8/layout/hierarchy6"/>
    <dgm:cxn modelId="{7EFD1CF3-B99A-4A63-B087-A3E4721F3955}" type="presParOf" srcId="{A65EEE17-B142-4395-9440-82681C1ADA87}" destId="{527B0E77-7EB2-429E-AE69-E261FDCB7833}" srcOrd="10" destOrd="0" presId="urn:microsoft.com/office/officeart/2005/8/layout/hierarchy6"/>
    <dgm:cxn modelId="{3F3D8B39-0967-40F5-9E2C-1E79CFE85420}" type="presParOf" srcId="{A65EEE17-B142-4395-9440-82681C1ADA87}" destId="{0E4D7FF5-C4ED-47AB-8535-5C7B0A383F1F}" srcOrd="11" destOrd="0" presId="urn:microsoft.com/office/officeart/2005/8/layout/hierarchy6"/>
    <dgm:cxn modelId="{596FD2EF-18A2-47CF-88E3-E91E01AEC269}" type="presParOf" srcId="{0E4D7FF5-C4ED-47AB-8535-5C7B0A383F1F}" destId="{60C6DAC9-637D-431F-9AFD-95F84B4698A9}" srcOrd="0" destOrd="0" presId="urn:microsoft.com/office/officeart/2005/8/layout/hierarchy6"/>
    <dgm:cxn modelId="{BEC43C64-8327-4D2C-B509-24E2FFB0CCE6}" type="presParOf" srcId="{0E4D7FF5-C4ED-47AB-8535-5C7B0A383F1F}" destId="{526051A6-5F18-4055-A9D3-CA6749D9841E}" srcOrd="1" destOrd="0" presId="urn:microsoft.com/office/officeart/2005/8/layout/hierarchy6"/>
    <dgm:cxn modelId="{34F61AD6-4EBA-463B-B2C4-870F74AE1E6B}" type="presParOf" srcId="{A65EEE17-B142-4395-9440-82681C1ADA87}" destId="{09C8B667-CAD7-4DC0-985B-9B8F058B52AE}" srcOrd="12" destOrd="0" presId="urn:microsoft.com/office/officeart/2005/8/layout/hierarchy6"/>
    <dgm:cxn modelId="{E4F0CECB-F69F-44A0-96B9-CE86A5AE5EAB}" type="presParOf" srcId="{A65EEE17-B142-4395-9440-82681C1ADA87}" destId="{C4B81743-A1FC-4FB3-8757-BC64C1740D2B}" srcOrd="13" destOrd="0" presId="urn:microsoft.com/office/officeart/2005/8/layout/hierarchy6"/>
    <dgm:cxn modelId="{43FBA80F-BECD-4604-A791-2B1B20C24512}" type="presParOf" srcId="{C4B81743-A1FC-4FB3-8757-BC64C1740D2B}" destId="{91731D73-B433-4ECC-937E-D3F66E307A04}" srcOrd="0" destOrd="0" presId="urn:microsoft.com/office/officeart/2005/8/layout/hierarchy6"/>
    <dgm:cxn modelId="{8DF1800F-3698-4D96-BD14-20A54E1FA7BD}" type="presParOf" srcId="{C4B81743-A1FC-4FB3-8757-BC64C1740D2B}" destId="{C4596AD7-D1B5-4631-997D-B312931C04C9}"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2787F9B9-D9EE-40F6-ABD4-C13F268A8AF1}">
      <dgm:prSet phldrT="[Text]"/>
      <dgm:spPr/>
      <dgm:t>
        <a:bodyPr/>
        <a:lstStyle/>
        <a:p>
          <a:r>
            <a:rPr lang="en-US" dirty="0"/>
            <a:t>Adaptive Query Processing</a:t>
          </a:r>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63ACDB67-93BB-4C9C-A990-84988CC78D4C}" type="asst">
      <dgm:prSet phldrT="[Text]"/>
      <dgm:spPr>
        <a:solidFill>
          <a:schemeClr val="tx2">
            <a:lumMod val="60000"/>
            <a:lumOff val="40000"/>
          </a:schemeClr>
        </a:solidFill>
      </dgm:spPr>
      <dgm:t>
        <a:bodyPr/>
        <a:lstStyle/>
        <a:p>
          <a:r>
            <a:rPr lang="en-US" dirty="0"/>
            <a:t>Feedback Persistence</a:t>
          </a:r>
        </a:p>
      </dgm:t>
    </dgm:pt>
    <dgm:pt modelId="{F68F2B22-1F4D-4139-91E7-10E316EC2856}" type="parTrans" cxnId="{2BF4486C-3C4A-429C-B233-3C140CF7BC79}">
      <dgm:prSet/>
      <dgm:spPr/>
      <dgm:t>
        <a:bodyPr/>
        <a:lstStyle/>
        <a:p>
          <a:endParaRPr lang="en-US"/>
        </a:p>
      </dgm:t>
    </dgm:pt>
    <dgm:pt modelId="{99FAF757-4020-44DE-9ABC-C5358919831C}" type="sibTrans" cxnId="{2BF4486C-3C4A-429C-B233-3C140CF7BC7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F73EFAA-AC05-4F91-9BA5-6E511FAF9278}" type="pres">
      <dgm:prSet presAssocID="{3A2A32F0-C73D-42A0-BA11-AFA02ABE79C2}" presName="Name19" presStyleLbl="parChTrans1D2" presStyleIdx="0" presStyleCnt="1"/>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0" presStyleCnt="4" custScaleX="107766"/>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3"/>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1" presStyleCnt="4"/>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3"/>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2" presStyleCnt="4"/>
      <dgm:spPr/>
    </dgm:pt>
    <dgm:pt modelId="{34466C55-A8A8-4DB4-8BA4-2C99EE2E2FCD}" type="pres">
      <dgm:prSet presAssocID="{CCF9C9C3-9436-4F08-BECE-72E8B6AFA431}" presName="hierChild3" presStyleCnt="0"/>
      <dgm:spPr/>
    </dgm:pt>
    <dgm:pt modelId="{A8D469E3-D14D-4CB9-A0D2-EC7B1E91369D}" type="pres">
      <dgm:prSet presAssocID="{F68F2B22-1F4D-4139-91E7-10E316EC2856}" presName="Name19" presStyleLbl="parChTrans1D3" presStyleIdx="2" presStyleCnt="3"/>
      <dgm:spPr/>
    </dgm:pt>
    <dgm:pt modelId="{B250623B-6380-4349-BB86-61B300A2178D}" type="pres">
      <dgm:prSet presAssocID="{63ACDB67-93BB-4C9C-A990-84988CC78D4C}" presName="Name21" presStyleCnt="0"/>
      <dgm:spPr/>
    </dgm:pt>
    <dgm:pt modelId="{8964277E-5946-47D2-93A4-B2AF5F7E5C36}" type="pres">
      <dgm:prSet presAssocID="{63ACDB67-93BB-4C9C-A990-84988CC78D4C}" presName="level2Shape" presStyleLbl="asst1" presStyleIdx="3" presStyleCnt="4" custScaleX="99701"/>
      <dgm:spPr/>
    </dgm:pt>
    <dgm:pt modelId="{F3521D69-E795-4603-B943-ED28550BE7E2}" type="pres">
      <dgm:prSet presAssocID="{63ACDB67-93BB-4C9C-A990-84988CC78D4C}" presName="hierChild3" presStyleCnt="0"/>
      <dgm:spPr/>
    </dgm:pt>
    <dgm:pt modelId="{944D2ECF-FF7F-4937-9891-343B25FA2353}" type="pres">
      <dgm:prSet presAssocID="{6E762228-84FE-45B2-9BB6-19E98A9BB7EA}" presName="bgShapesFlow" presStyleCnt="0"/>
      <dgm:spPr/>
    </dgm:pt>
  </dgm:ptLst>
  <dgm:cxnLst>
    <dgm:cxn modelId="{92C47802-37B9-4418-BA3D-9AEF70CDBC72}" type="presOf" srcId="{F68F2B22-1F4D-4139-91E7-10E316EC2856}" destId="{A8D469E3-D14D-4CB9-A0D2-EC7B1E91369D}" srcOrd="0" destOrd="0" presId="urn:microsoft.com/office/officeart/2005/8/layout/hierarchy6"/>
    <dgm:cxn modelId="{78ADC40E-9478-462F-B1B2-583982AA1E26}" type="presOf" srcId="{63ACDB67-93BB-4C9C-A990-84988CC78D4C}" destId="{8964277E-5946-47D2-93A4-B2AF5F7E5C36}"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0CEB1D1A-185D-41D7-BD0D-D5B9610F09A6}" srcId="{2787F9B9-D9EE-40F6-ABD4-C13F268A8AF1}" destId="{FE5A3D51-3C08-4DB9-99E3-39C94436AA5B}" srcOrd="0"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2BF4486C-3C4A-429C-B233-3C140CF7BC79}" srcId="{FE5A3D51-3C08-4DB9-99E3-39C94436AA5B}" destId="{63ACDB67-93BB-4C9C-A990-84988CC78D4C}" srcOrd="2" destOrd="0" parTransId="{F68F2B22-1F4D-4139-91E7-10E316EC2856}" sibTransId="{99FAF757-4020-44DE-9ABC-C5358919831C}"/>
    <dgm:cxn modelId="{303BAABE-F4E6-44F1-96AC-A8AE2D2A6D46}" type="presOf" srcId="{270DB351-209F-44E3-AE5D-DD3AA05A8175}" destId="{8F552DA2-FC5B-40D6-B601-DCA076FAF8FB}"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F2002C25-2786-4667-BD0D-FBC5A9275543}" type="presParOf" srcId="{50299AF2-8E56-4139-91AA-88B7CD7A011D}" destId="{9F73EFAA-AC05-4F91-9BA5-6E511FAF9278}" srcOrd="0" destOrd="0" presId="urn:microsoft.com/office/officeart/2005/8/layout/hierarchy6"/>
    <dgm:cxn modelId="{6C8E08C9-894A-4A6C-8073-4CF377B619A7}" type="presParOf" srcId="{50299AF2-8E56-4139-91AA-88B7CD7A011D}" destId="{EEBFBD1D-D977-4A6E-A8F4-F0D34CB82784}" srcOrd="1"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B3584984-3E02-4AFE-851E-498D0BA2DCFF}" type="presParOf" srcId="{973A634F-D053-4D7F-96EC-F5173C9A25FF}" destId="{A8D469E3-D14D-4CB9-A0D2-EC7B1E91369D}" srcOrd="4" destOrd="0" presId="urn:microsoft.com/office/officeart/2005/8/layout/hierarchy6"/>
    <dgm:cxn modelId="{94CE9D58-7A7F-4155-97B9-2A8AA62BCDF3}" type="presParOf" srcId="{973A634F-D053-4D7F-96EC-F5173C9A25FF}" destId="{B250623B-6380-4349-BB86-61B300A2178D}" srcOrd="5" destOrd="0" presId="urn:microsoft.com/office/officeart/2005/8/layout/hierarchy6"/>
    <dgm:cxn modelId="{03EE7C67-24FD-47C2-9B9C-48C0A7F343D9}" type="presParOf" srcId="{B250623B-6380-4349-BB86-61B300A2178D}" destId="{8964277E-5946-47D2-93A4-B2AF5F7E5C36}" srcOrd="0" destOrd="0" presId="urn:microsoft.com/office/officeart/2005/8/layout/hierarchy6"/>
    <dgm:cxn modelId="{9703403B-28D8-4B00-B5BC-FB6C2E895A06}" type="presParOf" srcId="{B250623B-6380-4349-BB86-61B300A2178D}" destId="{F3521D69-E795-4603-B943-ED28550BE7E2}"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21AFF4A-AE44-460B-A0A9-07D1425D9DA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47D4F6AA-61FF-400B-8CEC-AEAE9BFD8364}">
      <dgm:prSet custT="1"/>
      <dgm:spPr/>
      <dgm:t>
        <a:bodyPr/>
        <a:lstStyle/>
        <a:p>
          <a:r>
            <a:rPr lang="en-US" sz="2000" dirty="0"/>
            <a:t>Query plan estimates how much memory is needed to store rows during join and sort operations. </a:t>
          </a:r>
        </a:p>
      </dgm:t>
    </dgm:pt>
    <dgm:pt modelId="{2B90C276-82F0-4E42-AB5B-D926FBABF426}" type="parTrans" cxnId="{FB6E3BDB-929A-47B8-9A64-3BEAA2FDFC0C}">
      <dgm:prSet/>
      <dgm:spPr/>
      <dgm:t>
        <a:bodyPr/>
        <a:lstStyle/>
        <a:p>
          <a:endParaRPr lang="en-US"/>
        </a:p>
      </dgm:t>
    </dgm:pt>
    <dgm:pt modelId="{E95C9E9D-AE8B-4B11-9722-8A226AAA01FA}" type="sibTrans" cxnId="{FB6E3BDB-929A-47B8-9A64-3BEAA2FDFC0C}">
      <dgm:prSet/>
      <dgm:spPr/>
      <dgm:t>
        <a:bodyPr/>
        <a:lstStyle/>
        <a:p>
          <a:endParaRPr lang="en-US"/>
        </a:p>
      </dgm:t>
    </dgm:pt>
    <dgm:pt modelId="{E256B939-80D3-44E7-BB51-31743E0B6B29}">
      <dgm:prSet custT="1"/>
      <dgm:spPr/>
      <dgm:t>
        <a:bodyPr/>
        <a:lstStyle/>
        <a:p>
          <a:r>
            <a:rPr lang="en-US" sz="2000" dirty="0"/>
            <a:t>Too much memory allocation may impact performance of other operations. </a:t>
          </a:r>
        </a:p>
      </dgm:t>
    </dgm:pt>
    <dgm:pt modelId="{65851772-FBF8-4699-93A9-51D0E008307B}" type="parTrans" cxnId="{355D41BC-6F68-4552-8632-B48F8F0D5A1B}">
      <dgm:prSet/>
      <dgm:spPr/>
      <dgm:t>
        <a:bodyPr/>
        <a:lstStyle/>
        <a:p>
          <a:endParaRPr lang="en-US"/>
        </a:p>
      </dgm:t>
    </dgm:pt>
    <dgm:pt modelId="{16870AE9-2363-4AC3-882E-BC8093158D55}" type="sibTrans" cxnId="{355D41BC-6F68-4552-8632-B48F8F0D5A1B}">
      <dgm:prSet/>
      <dgm:spPr/>
      <dgm:t>
        <a:bodyPr/>
        <a:lstStyle/>
        <a:p>
          <a:endParaRPr lang="en-US"/>
        </a:p>
      </dgm:t>
    </dgm:pt>
    <dgm:pt modelId="{539F9649-DA1F-4A82-9808-074EAA1001C4}">
      <dgm:prSet custT="1"/>
      <dgm:spPr/>
      <dgm:t>
        <a:bodyPr/>
        <a:lstStyle/>
        <a:p>
          <a:r>
            <a:rPr lang="en-US" sz="2000" dirty="0"/>
            <a:t>Not enough memory will cause a spill over to disk.</a:t>
          </a:r>
        </a:p>
      </dgm:t>
    </dgm:pt>
    <dgm:pt modelId="{4B6908A7-7318-468E-B4CD-4A487A958D2D}" type="parTrans" cxnId="{C5B811B9-EADF-4DD5-ADD3-388AF27084B6}">
      <dgm:prSet/>
      <dgm:spPr/>
      <dgm:t>
        <a:bodyPr/>
        <a:lstStyle/>
        <a:p>
          <a:endParaRPr lang="en-US"/>
        </a:p>
      </dgm:t>
    </dgm:pt>
    <dgm:pt modelId="{29C5B0F3-0F9F-4ED0-BAB9-A23FFAE16EC5}" type="sibTrans" cxnId="{C5B811B9-EADF-4DD5-ADD3-388AF27084B6}">
      <dgm:prSet/>
      <dgm:spPr/>
      <dgm:t>
        <a:bodyPr/>
        <a:lstStyle/>
        <a:p>
          <a:endParaRPr lang="en-US"/>
        </a:p>
      </dgm:t>
    </dgm:pt>
    <dgm:pt modelId="{EBFA30D9-F47B-43BA-AC60-73FFBF333FC3}">
      <dgm:prSet custT="1"/>
      <dgm:spPr/>
      <dgm:t>
        <a:bodyPr/>
        <a:lstStyle/>
        <a:p>
          <a:r>
            <a:rPr lang="en-US" sz="2000" dirty="0"/>
            <a:t>This feature recalculates memory on first execution and updates the cached plan.</a:t>
          </a:r>
        </a:p>
      </dgm:t>
    </dgm:pt>
    <dgm:pt modelId="{BC14F2AF-C55D-4F96-A3BD-C1DA2E63CAF6}" type="parTrans" cxnId="{84CC699A-601E-4F1B-A6D4-C364A4B82481}">
      <dgm:prSet/>
      <dgm:spPr/>
      <dgm:t>
        <a:bodyPr/>
        <a:lstStyle/>
        <a:p>
          <a:endParaRPr lang="en-US"/>
        </a:p>
      </dgm:t>
    </dgm:pt>
    <dgm:pt modelId="{88ACD5CF-3983-44DE-A500-DD1F8855012D}" type="sibTrans" cxnId="{84CC699A-601E-4F1B-A6D4-C364A4B82481}">
      <dgm:prSet/>
      <dgm:spPr/>
      <dgm:t>
        <a:bodyPr/>
        <a:lstStyle/>
        <a:p>
          <a:endParaRPr lang="en-US"/>
        </a:p>
      </dgm:t>
    </dgm:pt>
    <dgm:pt modelId="{1C1D2B00-35C4-473F-947A-FEF442388625}" type="pres">
      <dgm:prSet presAssocID="{321AFF4A-AE44-460B-A0A9-07D1425D9DA7}" presName="linear" presStyleCnt="0">
        <dgm:presLayoutVars>
          <dgm:animLvl val="lvl"/>
          <dgm:resizeHandles val="exact"/>
        </dgm:presLayoutVars>
      </dgm:prSet>
      <dgm:spPr/>
    </dgm:pt>
    <dgm:pt modelId="{3C791E11-A6A1-460D-A71E-1F9A97E33366}" type="pres">
      <dgm:prSet presAssocID="{47D4F6AA-61FF-400B-8CEC-AEAE9BFD8364}" presName="parentText" presStyleLbl="node1" presStyleIdx="0" presStyleCnt="4">
        <dgm:presLayoutVars>
          <dgm:chMax val="0"/>
          <dgm:bulletEnabled val="1"/>
        </dgm:presLayoutVars>
      </dgm:prSet>
      <dgm:spPr/>
    </dgm:pt>
    <dgm:pt modelId="{46F5C38F-0524-4F92-84E5-B1927DFB5CF4}" type="pres">
      <dgm:prSet presAssocID="{E95C9E9D-AE8B-4B11-9722-8A226AAA01FA}" presName="spacer" presStyleCnt="0"/>
      <dgm:spPr/>
    </dgm:pt>
    <dgm:pt modelId="{83B08AA8-5BFA-4E43-8CA0-5F94DBD06379}" type="pres">
      <dgm:prSet presAssocID="{E256B939-80D3-44E7-BB51-31743E0B6B29}" presName="parentText" presStyleLbl="node1" presStyleIdx="1" presStyleCnt="4">
        <dgm:presLayoutVars>
          <dgm:chMax val="0"/>
          <dgm:bulletEnabled val="1"/>
        </dgm:presLayoutVars>
      </dgm:prSet>
      <dgm:spPr/>
    </dgm:pt>
    <dgm:pt modelId="{F71004DA-AFE5-4FCC-ADE4-A09BBCB6787E}" type="pres">
      <dgm:prSet presAssocID="{16870AE9-2363-4AC3-882E-BC8093158D55}" presName="spacer" presStyleCnt="0"/>
      <dgm:spPr/>
    </dgm:pt>
    <dgm:pt modelId="{C5D43FFA-C0E2-465F-A341-261A3160D50D}" type="pres">
      <dgm:prSet presAssocID="{539F9649-DA1F-4A82-9808-074EAA1001C4}" presName="parentText" presStyleLbl="node1" presStyleIdx="2" presStyleCnt="4">
        <dgm:presLayoutVars>
          <dgm:chMax val="0"/>
          <dgm:bulletEnabled val="1"/>
        </dgm:presLayoutVars>
      </dgm:prSet>
      <dgm:spPr/>
    </dgm:pt>
    <dgm:pt modelId="{C9B385BC-86CB-432B-81EA-4694772BD0DE}" type="pres">
      <dgm:prSet presAssocID="{29C5B0F3-0F9F-4ED0-BAB9-A23FFAE16EC5}" presName="spacer" presStyleCnt="0"/>
      <dgm:spPr/>
    </dgm:pt>
    <dgm:pt modelId="{253B71FA-49D7-424D-AF63-79D8B460EAB7}" type="pres">
      <dgm:prSet presAssocID="{EBFA30D9-F47B-43BA-AC60-73FFBF333FC3}" presName="parentText" presStyleLbl="node1" presStyleIdx="3" presStyleCnt="4">
        <dgm:presLayoutVars>
          <dgm:chMax val="0"/>
          <dgm:bulletEnabled val="1"/>
        </dgm:presLayoutVars>
      </dgm:prSet>
      <dgm:spPr/>
    </dgm:pt>
  </dgm:ptLst>
  <dgm:cxnLst>
    <dgm:cxn modelId="{76355D3B-57B2-44F3-B16C-6B69AD6FCADE}" type="presOf" srcId="{321AFF4A-AE44-460B-A0A9-07D1425D9DA7}" destId="{1C1D2B00-35C4-473F-947A-FEF442388625}" srcOrd="0" destOrd="0" presId="urn:microsoft.com/office/officeart/2005/8/layout/vList2"/>
    <dgm:cxn modelId="{59CAFB4D-08B8-40B1-ABFF-363EBB039DCC}" type="presOf" srcId="{539F9649-DA1F-4A82-9808-074EAA1001C4}" destId="{C5D43FFA-C0E2-465F-A341-261A3160D50D}" srcOrd="0" destOrd="0" presId="urn:microsoft.com/office/officeart/2005/8/layout/vList2"/>
    <dgm:cxn modelId="{84CC699A-601E-4F1B-A6D4-C364A4B82481}" srcId="{321AFF4A-AE44-460B-A0A9-07D1425D9DA7}" destId="{EBFA30D9-F47B-43BA-AC60-73FFBF333FC3}" srcOrd="3" destOrd="0" parTransId="{BC14F2AF-C55D-4F96-A3BD-C1DA2E63CAF6}" sibTransId="{88ACD5CF-3983-44DE-A500-DD1F8855012D}"/>
    <dgm:cxn modelId="{C5B811B9-EADF-4DD5-ADD3-388AF27084B6}" srcId="{321AFF4A-AE44-460B-A0A9-07D1425D9DA7}" destId="{539F9649-DA1F-4A82-9808-074EAA1001C4}" srcOrd="2" destOrd="0" parTransId="{4B6908A7-7318-468E-B4CD-4A487A958D2D}" sibTransId="{29C5B0F3-0F9F-4ED0-BAB9-A23FFAE16EC5}"/>
    <dgm:cxn modelId="{355D41BC-6F68-4552-8632-B48F8F0D5A1B}" srcId="{321AFF4A-AE44-460B-A0A9-07D1425D9DA7}" destId="{E256B939-80D3-44E7-BB51-31743E0B6B29}" srcOrd="1" destOrd="0" parTransId="{65851772-FBF8-4699-93A9-51D0E008307B}" sibTransId="{16870AE9-2363-4AC3-882E-BC8093158D55}"/>
    <dgm:cxn modelId="{F0AC78C4-F9BE-4375-8910-E67B7FD960D0}" type="presOf" srcId="{E256B939-80D3-44E7-BB51-31743E0B6B29}" destId="{83B08AA8-5BFA-4E43-8CA0-5F94DBD06379}" srcOrd="0" destOrd="0" presId="urn:microsoft.com/office/officeart/2005/8/layout/vList2"/>
    <dgm:cxn modelId="{1E8015D2-32BE-492F-A945-4A4346CCDE13}" type="presOf" srcId="{47D4F6AA-61FF-400B-8CEC-AEAE9BFD8364}" destId="{3C791E11-A6A1-460D-A71E-1F9A97E33366}" srcOrd="0" destOrd="0" presId="urn:microsoft.com/office/officeart/2005/8/layout/vList2"/>
    <dgm:cxn modelId="{980E7DD3-8ECC-4E1A-8345-73F3C0E66D7A}" type="presOf" srcId="{EBFA30D9-F47B-43BA-AC60-73FFBF333FC3}" destId="{253B71FA-49D7-424D-AF63-79D8B460EAB7}" srcOrd="0" destOrd="0" presId="urn:microsoft.com/office/officeart/2005/8/layout/vList2"/>
    <dgm:cxn modelId="{FB6E3BDB-929A-47B8-9A64-3BEAA2FDFC0C}" srcId="{321AFF4A-AE44-460B-A0A9-07D1425D9DA7}" destId="{47D4F6AA-61FF-400B-8CEC-AEAE9BFD8364}" srcOrd="0" destOrd="0" parTransId="{2B90C276-82F0-4E42-AB5B-D926FBABF426}" sibTransId="{E95C9E9D-AE8B-4B11-9722-8A226AAA01FA}"/>
    <dgm:cxn modelId="{B87FC00F-AD11-4CAF-8D60-82A15EBA76CA}" type="presParOf" srcId="{1C1D2B00-35C4-473F-947A-FEF442388625}" destId="{3C791E11-A6A1-460D-A71E-1F9A97E33366}" srcOrd="0" destOrd="0" presId="urn:microsoft.com/office/officeart/2005/8/layout/vList2"/>
    <dgm:cxn modelId="{BBE898A4-5A59-4E41-88D4-B5A0F9071A4E}" type="presParOf" srcId="{1C1D2B00-35C4-473F-947A-FEF442388625}" destId="{46F5C38F-0524-4F92-84E5-B1927DFB5CF4}" srcOrd="1" destOrd="0" presId="urn:microsoft.com/office/officeart/2005/8/layout/vList2"/>
    <dgm:cxn modelId="{4653BDAA-BB45-40F8-AC45-15FFDF42D922}" type="presParOf" srcId="{1C1D2B00-35C4-473F-947A-FEF442388625}" destId="{83B08AA8-5BFA-4E43-8CA0-5F94DBD06379}" srcOrd="2" destOrd="0" presId="urn:microsoft.com/office/officeart/2005/8/layout/vList2"/>
    <dgm:cxn modelId="{BD23D6E0-CA25-4998-9B58-FFAFDEC90782}" type="presParOf" srcId="{1C1D2B00-35C4-473F-947A-FEF442388625}" destId="{F71004DA-AFE5-4FCC-ADE4-A09BBCB6787E}" srcOrd="3" destOrd="0" presId="urn:microsoft.com/office/officeart/2005/8/layout/vList2"/>
    <dgm:cxn modelId="{49E5F09A-8228-41DE-B3C8-6EF17C93615A}" type="presParOf" srcId="{1C1D2B00-35C4-473F-947A-FEF442388625}" destId="{C5D43FFA-C0E2-465F-A341-261A3160D50D}" srcOrd="4" destOrd="0" presId="urn:microsoft.com/office/officeart/2005/8/layout/vList2"/>
    <dgm:cxn modelId="{E67E9C71-2DA8-444A-BEAA-BCFDFA30DE21}" type="presParOf" srcId="{1C1D2B00-35C4-473F-947A-FEF442388625}" destId="{C9B385BC-86CB-432B-81EA-4694772BD0DE}" srcOrd="5" destOrd="0" presId="urn:microsoft.com/office/officeart/2005/8/layout/vList2"/>
    <dgm:cxn modelId="{935FC8B2-5E50-4AA3-8230-2928563E041D}" type="presParOf" srcId="{1C1D2B00-35C4-473F-947A-FEF442388625}" destId="{253B71FA-49D7-424D-AF63-79D8B460EAB7}" srcOrd="6"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FE5A3D51-3C08-4DB9-99E3-39C94436AA5B}" type="asst">
      <dgm:prSet phldrT="[Text]"/>
      <dgm:spPr/>
      <dgm:t>
        <a:bodyPr/>
        <a:lstStyle/>
        <a:p>
          <a:r>
            <a:rPr lang="en-US" dirty="0"/>
            <a:t>Memory Grant Feedback (Batch Mode)</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4BF636BB-726E-47F6-B3D4-53568E68943A}" type="pres">
      <dgm:prSet presAssocID="{FE5A3D51-3C08-4DB9-99E3-39C94436AA5B}" presName="Name14" presStyleCnt="0"/>
      <dgm:spPr/>
    </dgm:pt>
    <dgm:pt modelId="{1148D2CF-C3B8-48C4-8FA0-8E7CB44BB97D}" type="pres">
      <dgm:prSet presAssocID="{FE5A3D51-3C08-4DB9-99E3-39C94436AA5B}" presName="level1Shape" presStyleLbl="node0" presStyleIdx="0" presStyleCnt="1">
        <dgm:presLayoutVars>
          <dgm:chPref val="3"/>
        </dgm:presLayoutVars>
      </dgm:prSet>
      <dgm:spPr/>
    </dgm:pt>
    <dgm:pt modelId="{7CB31BA8-470C-40FA-8223-37076F646AAA}" type="pres">
      <dgm:prSet presAssocID="{FE5A3D51-3C08-4DB9-99E3-39C94436AA5B}"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0CEB1D1A-185D-41D7-BD0D-D5B9610F09A6}" srcId="{6E762228-84FE-45B2-9BB6-19E98A9BB7EA}" destId="{FE5A3D51-3C08-4DB9-99E3-39C94436AA5B}" srcOrd="0" destOrd="0" parTransId="{3A2A32F0-C73D-42A0-BA11-AFA02ABE79C2}" sibTransId="{0F8254DD-18D7-4A6C-835F-A13BA5A1ABF4}"/>
    <dgm:cxn modelId="{96053050-7841-4C65-9E5F-5B7086186D8F}" type="presOf" srcId="{FE5A3D51-3C08-4DB9-99E3-39C94436AA5B}" destId="{1148D2CF-C3B8-48C4-8FA0-8E7CB44BB97D}"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0F81B42-651B-42D6-A84D-7034B439A3D4}" type="presParOf" srcId="{6349854C-26F9-4527-A34B-FF8105524D97}" destId="{4BF636BB-726E-47F6-B3D4-53568E68943A}" srcOrd="0" destOrd="0" presId="urn:microsoft.com/office/officeart/2005/8/layout/hierarchy6"/>
    <dgm:cxn modelId="{F9F4DDA3-EC51-4FCD-92D5-48BCEC524DC1}" type="presParOf" srcId="{4BF636BB-726E-47F6-B3D4-53568E68943A}" destId="{1148D2CF-C3B8-48C4-8FA0-8E7CB44BB97D}" srcOrd="0" destOrd="0" presId="urn:microsoft.com/office/officeart/2005/8/layout/hierarchy6"/>
    <dgm:cxn modelId="{431C3F60-3A92-46DB-A4CE-FE07C4036262}" type="presParOf" srcId="{4BF636BB-726E-47F6-B3D4-53568E68943A}" destId="{7CB31BA8-470C-40FA-8223-37076F646AAA}"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8277FB8B-9D39-4CC5-BDEC-D3827308642F}" type="asst">
      <dgm:prSet phldrT="[Text]"/>
      <dgm:spPr/>
      <dgm:t>
        <a:bodyPr/>
        <a:lstStyle/>
        <a:p>
          <a:r>
            <a:rPr lang="en-US" dirty="0"/>
            <a:t>Interleaved Execution</a:t>
          </a:r>
        </a:p>
      </dgm:t>
    </dgm:pt>
    <dgm:pt modelId="{69703607-1CEF-4962-A22B-C8239D13F2F4}" type="parTrans" cxnId="{47550056-B9BF-42F2-A85B-C9B36B21E767}">
      <dgm:prSet/>
      <dgm:spPr/>
      <dgm:t>
        <a:bodyPr/>
        <a:lstStyle/>
        <a:p>
          <a:endParaRPr lang="en-US"/>
        </a:p>
      </dgm:t>
    </dgm:pt>
    <dgm:pt modelId="{B7F48C3C-2138-401F-8EBB-A2B410C5EF6D}" type="sibTrans" cxnId="{47550056-B9BF-42F2-A85B-C9B36B21E767}">
      <dgm:prSet/>
      <dgm:spPr/>
      <dgm:t>
        <a:bodyPr/>
        <a:lstStyle/>
        <a:p>
          <a:endParaRPr lang="en-US"/>
        </a:p>
      </dgm:t>
    </dgm:pt>
    <dgm:pt modelId="{FE5A3D51-3C08-4DB9-99E3-39C94436AA5B}" type="asst">
      <dgm:prSet phldrT="[Text]"/>
      <dgm:spPr/>
      <dgm:t>
        <a:bodyPr/>
        <a:lstStyle/>
        <a:p>
          <a:r>
            <a:rPr lang="en-US" dirty="0"/>
            <a:t>Memory Grant Feedback</a:t>
          </a:r>
        </a:p>
      </dgm:t>
    </dgm:pt>
    <dgm:pt modelId="{3A2A32F0-C73D-42A0-BA11-AFA02ABE79C2}" type="parTrans" cxnId="{0CEB1D1A-185D-41D7-BD0D-D5B9610F09A6}">
      <dgm:prSet/>
      <dgm:spPr/>
      <dgm:t>
        <a:bodyPr/>
        <a:lstStyle/>
        <a:p>
          <a:endParaRPr lang="en-US"/>
        </a:p>
      </dgm:t>
    </dgm:pt>
    <dgm:pt modelId="{0F8254DD-18D7-4A6C-835F-A13BA5A1ABF4}" type="sibTrans" cxnId="{0CEB1D1A-185D-41D7-BD0D-D5B9610F09A6}">
      <dgm:prSet/>
      <dgm:spPr/>
      <dgm:t>
        <a:bodyPr/>
        <a:lstStyle/>
        <a:p>
          <a:endParaRPr lang="en-US"/>
        </a:p>
      </dgm:t>
    </dgm:pt>
    <dgm:pt modelId="{D84DD7AB-A1C4-4A77-B583-CCF2DADB3362}" type="asst">
      <dgm:prSet phldrT="[Text]"/>
      <dgm:spPr/>
      <dgm:t>
        <a:bodyPr/>
        <a:lstStyle/>
        <a:p>
          <a:r>
            <a:rPr lang="en-US" dirty="0"/>
            <a:t>Adaptive Joins</a:t>
          </a:r>
        </a:p>
      </dgm:t>
    </dgm:pt>
    <dgm:pt modelId="{9D361AED-F287-426D-889C-035A581FCAD4}" type="parTrans" cxnId="{713EFD19-EA11-444E-AAE6-060A9CCE48E8}">
      <dgm:prSet/>
      <dgm:spPr/>
      <dgm:t>
        <a:bodyPr/>
        <a:lstStyle/>
        <a:p>
          <a:endParaRPr lang="en-US"/>
        </a:p>
      </dgm:t>
    </dgm:pt>
    <dgm:pt modelId="{E3590AD4-F655-4C32-8A76-03F5AA05AA3D}" type="sibTrans" cxnId="{713EFD19-EA11-444E-AAE6-060A9CCE48E8}">
      <dgm:prSet/>
      <dgm:spPr/>
      <dgm:t>
        <a:bodyPr/>
        <a:lstStyle/>
        <a:p>
          <a:endParaRPr lang="en-US"/>
        </a:p>
      </dgm:t>
    </dgm:pt>
    <dgm:pt modelId="{2787F9B9-D9EE-40F6-ABD4-C13F268A8AF1}">
      <dgm:prSet phldrT="[Text]"/>
      <dgm:spPr/>
      <dgm:t>
        <a:bodyPr/>
        <a:lstStyle/>
        <a:p>
          <a:r>
            <a:rPr lang="en-US"/>
            <a:t>Adaptive Query Processing</a:t>
          </a:r>
          <a:endParaRPr lang="en-US" dirty="0"/>
        </a:p>
      </dgm:t>
    </dgm:pt>
    <dgm:pt modelId="{DAF4A804-FF79-40DF-805D-58E5C402C862}" type="parTrans" cxnId="{08314642-1431-4067-B9A0-6D9945753515}">
      <dgm:prSet/>
      <dgm:spPr/>
      <dgm:t>
        <a:bodyPr/>
        <a:lstStyle/>
        <a:p>
          <a:endParaRPr lang="en-US"/>
        </a:p>
      </dgm:t>
    </dgm:pt>
    <dgm:pt modelId="{DDB7192C-92EF-4E0B-903F-AD6D902F08C6}" type="sibTrans" cxnId="{08314642-1431-4067-B9A0-6D9945753515}">
      <dgm:prSet/>
      <dgm:spPr/>
      <dgm:t>
        <a:bodyPr/>
        <a:lstStyle/>
        <a:p>
          <a:endParaRPr lang="en-US"/>
        </a:p>
      </dgm:t>
    </dgm:pt>
    <dgm:pt modelId="{270DB351-209F-44E3-AE5D-DD3AA05A8175}" type="asst">
      <dgm:prSet phldrT="[Text]"/>
      <dgm:spPr/>
      <dgm:t>
        <a:bodyPr/>
        <a:lstStyle/>
        <a:p>
          <a:r>
            <a:rPr lang="en-US" dirty="0"/>
            <a:t>Batch Mode</a:t>
          </a:r>
        </a:p>
      </dgm:t>
    </dgm:pt>
    <dgm:pt modelId="{B2937768-267F-4FD0-B209-ADCABB3F2609}" type="parTrans" cxnId="{EFC364E8-71F1-4B89-AE5A-2882920EF443}">
      <dgm:prSet/>
      <dgm:spPr/>
      <dgm:t>
        <a:bodyPr/>
        <a:lstStyle/>
        <a:p>
          <a:endParaRPr lang="en-US"/>
        </a:p>
      </dgm:t>
    </dgm:pt>
    <dgm:pt modelId="{61AB407C-BF26-4766-9709-693A5355340D}" type="sibTrans" cxnId="{EFC364E8-71F1-4B89-AE5A-2882920EF443}">
      <dgm:prSet/>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7544287-82C2-4948-9637-60B9656AE33E}" type="pres">
      <dgm:prSet presAssocID="{2787F9B9-D9EE-40F6-ABD4-C13F268A8AF1}" presName="Name14" presStyleCnt="0"/>
      <dgm:spPr/>
    </dgm:pt>
    <dgm:pt modelId="{DEB0A647-2631-4887-AD37-8EF8357E972F}" type="pres">
      <dgm:prSet presAssocID="{2787F9B9-D9EE-40F6-ABD4-C13F268A8AF1}" presName="level1Shape" presStyleLbl="node0" presStyleIdx="0" presStyleCnt="1">
        <dgm:presLayoutVars>
          <dgm:chPref val="3"/>
        </dgm:presLayoutVars>
      </dgm:prSet>
      <dgm:spPr/>
    </dgm:pt>
    <dgm:pt modelId="{50299AF2-8E56-4139-91AA-88B7CD7A011D}" type="pres">
      <dgm:prSet presAssocID="{2787F9B9-D9EE-40F6-ABD4-C13F268A8AF1}" presName="hierChild2" presStyleCnt="0"/>
      <dgm:spPr/>
    </dgm:pt>
    <dgm:pt modelId="{9B0BC5A7-6A70-41C3-871D-416E6CE7FB15}" type="pres">
      <dgm:prSet presAssocID="{9D361AED-F287-426D-889C-035A581FCAD4}" presName="Name19" presStyleLbl="parChTrans1D2" presStyleIdx="0" presStyleCnt="3"/>
      <dgm:spPr/>
    </dgm:pt>
    <dgm:pt modelId="{82EC63D1-694F-4FFF-9E6D-6674B591884B}" type="pres">
      <dgm:prSet presAssocID="{D84DD7AB-A1C4-4A77-B583-CCF2DADB3362}" presName="Name21" presStyleCnt="0"/>
      <dgm:spPr/>
    </dgm:pt>
    <dgm:pt modelId="{A26B365E-E5E1-416D-9FD8-97105F38CB63}" type="pres">
      <dgm:prSet presAssocID="{D84DD7AB-A1C4-4A77-B583-CCF2DADB3362}" presName="level2Shape" presStyleLbl="asst1" presStyleIdx="0" presStyleCnt="5"/>
      <dgm:spPr/>
    </dgm:pt>
    <dgm:pt modelId="{D32E83C3-191F-40F1-AF6A-A970805EBE25}" type="pres">
      <dgm:prSet presAssocID="{D84DD7AB-A1C4-4A77-B583-CCF2DADB3362}" presName="hierChild3" presStyleCnt="0"/>
      <dgm:spPr/>
    </dgm:pt>
    <dgm:pt modelId="{52433208-80E6-4924-B192-66BA710CE757}" type="pres">
      <dgm:prSet presAssocID="{69703607-1CEF-4962-A22B-C8239D13F2F4}" presName="Name19" presStyleLbl="parChTrans1D2" presStyleIdx="1" presStyleCnt="3"/>
      <dgm:spPr/>
    </dgm:pt>
    <dgm:pt modelId="{74EF38D0-35A5-46DE-BF51-2FE421E3C217}" type="pres">
      <dgm:prSet presAssocID="{8277FB8B-9D39-4CC5-BDEC-D3827308642F}" presName="Name21" presStyleCnt="0"/>
      <dgm:spPr/>
    </dgm:pt>
    <dgm:pt modelId="{B4399AFE-2603-47B7-BCBC-A239B44C86F5}" type="pres">
      <dgm:prSet presAssocID="{8277FB8B-9D39-4CC5-BDEC-D3827308642F}" presName="level2Shape" presStyleLbl="asst1" presStyleIdx="1" presStyleCnt="5"/>
      <dgm:spPr/>
    </dgm:pt>
    <dgm:pt modelId="{B89EE319-8A68-4B6F-A445-40F4B0A04EE8}" type="pres">
      <dgm:prSet presAssocID="{8277FB8B-9D39-4CC5-BDEC-D3827308642F}" presName="hierChild3" presStyleCnt="0"/>
      <dgm:spPr/>
    </dgm:pt>
    <dgm:pt modelId="{9F73EFAA-AC05-4F91-9BA5-6E511FAF9278}" type="pres">
      <dgm:prSet presAssocID="{3A2A32F0-C73D-42A0-BA11-AFA02ABE79C2}" presName="Name19" presStyleLbl="parChTrans1D2" presStyleIdx="2" presStyleCnt="3"/>
      <dgm:spPr/>
    </dgm:pt>
    <dgm:pt modelId="{EEBFBD1D-D977-4A6E-A8F4-F0D34CB82784}" type="pres">
      <dgm:prSet presAssocID="{FE5A3D51-3C08-4DB9-99E3-39C94436AA5B}" presName="Name21" presStyleCnt="0"/>
      <dgm:spPr/>
    </dgm:pt>
    <dgm:pt modelId="{4819E298-A51F-4C6C-8730-AFE2F6D20F30}" type="pres">
      <dgm:prSet presAssocID="{FE5A3D51-3C08-4DB9-99E3-39C94436AA5B}" presName="level2Shape" presStyleLbl="asst1" presStyleIdx="2" presStyleCnt="5"/>
      <dgm:spPr/>
    </dgm:pt>
    <dgm:pt modelId="{973A634F-D053-4D7F-96EC-F5173C9A25FF}" type="pres">
      <dgm:prSet presAssocID="{FE5A3D51-3C08-4DB9-99E3-39C94436AA5B}" presName="hierChild3" presStyleCnt="0"/>
      <dgm:spPr/>
    </dgm:pt>
    <dgm:pt modelId="{5690923D-9059-4138-8ACF-90D405019F80}" type="pres">
      <dgm:prSet presAssocID="{B2937768-267F-4FD0-B209-ADCABB3F2609}" presName="Name19" presStyleLbl="parChTrans1D3" presStyleIdx="0" presStyleCnt="2"/>
      <dgm:spPr/>
    </dgm:pt>
    <dgm:pt modelId="{2A332E69-B5C0-4A68-B4C3-29696724CD01}" type="pres">
      <dgm:prSet presAssocID="{270DB351-209F-44E3-AE5D-DD3AA05A8175}" presName="Name21" presStyleCnt="0"/>
      <dgm:spPr/>
    </dgm:pt>
    <dgm:pt modelId="{8F552DA2-FC5B-40D6-B601-DCA076FAF8FB}" type="pres">
      <dgm:prSet presAssocID="{270DB351-209F-44E3-AE5D-DD3AA05A8175}" presName="level2Shape" presStyleLbl="asst1" presStyleIdx="3" presStyleCnt="5"/>
      <dgm:spPr/>
    </dgm:pt>
    <dgm:pt modelId="{330902C9-A030-4F0E-8F44-4D46DA5BCFB1}" type="pres">
      <dgm:prSet presAssocID="{270DB351-209F-44E3-AE5D-DD3AA05A8175}" presName="hierChild3" presStyleCnt="0"/>
      <dgm:spPr/>
    </dgm:pt>
    <dgm:pt modelId="{72CBE2B3-D899-424A-812B-7B9A78E6CC32}" type="pres">
      <dgm:prSet presAssocID="{0FFC0143-DFCF-487A-8E06-4BFBBA87A847}" presName="Name19" presStyleLbl="parChTrans1D3" presStyleIdx="1" presStyleCnt="2"/>
      <dgm:spPr/>
    </dgm:pt>
    <dgm:pt modelId="{14A21586-238C-4BA6-9A76-728F09600A97}" type="pres">
      <dgm:prSet presAssocID="{CCF9C9C3-9436-4F08-BECE-72E8B6AFA431}" presName="Name21" presStyleCnt="0"/>
      <dgm:spPr/>
    </dgm:pt>
    <dgm:pt modelId="{D082D06F-7A6B-4DD7-92D7-FEC51944094C}" type="pres">
      <dgm:prSet presAssocID="{CCF9C9C3-9436-4F08-BECE-72E8B6AFA431}" presName="level2Shape" presStyleLbl="asst1" presStyleIdx="4" presStyleCnt="5"/>
      <dgm:spPr/>
    </dgm:pt>
    <dgm:pt modelId="{34466C55-A8A8-4DB4-8BA4-2C99EE2E2FCD}" type="pres">
      <dgm:prSet presAssocID="{CCF9C9C3-9436-4F08-BECE-72E8B6AFA431}" presName="hierChild3" presStyleCnt="0"/>
      <dgm:spPr/>
    </dgm:pt>
    <dgm:pt modelId="{944D2ECF-FF7F-4937-9891-343B25FA2353}" type="pres">
      <dgm:prSet presAssocID="{6E762228-84FE-45B2-9BB6-19E98A9BB7EA}" presName="bgShapesFlow" presStyleCnt="0"/>
      <dgm:spPr/>
    </dgm:pt>
  </dgm:ptLst>
  <dgm:cxnLst>
    <dgm:cxn modelId="{6A6F0E02-5027-4E8A-BE1A-FE4730CDE8C0}" type="presOf" srcId="{69703607-1CEF-4962-A22B-C8239D13F2F4}" destId="{52433208-80E6-4924-B192-66BA710CE757}" srcOrd="0" destOrd="0" presId="urn:microsoft.com/office/officeart/2005/8/layout/hierarchy6"/>
    <dgm:cxn modelId="{09B72D13-CBA3-41DA-A9B8-457C00DCDA47}" type="presOf" srcId="{D84DD7AB-A1C4-4A77-B583-CCF2DADB3362}" destId="{A26B365E-E5E1-416D-9FD8-97105F38CB63}" srcOrd="0" destOrd="0" presId="urn:microsoft.com/office/officeart/2005/8/layout/hierarchy6"/>
    <dgm:cxn modelId="{08638E16-9EB2-4C7E-B41E-FA1BCBB2B87E}" type="presOf" srcId="{6E762228-84FE-45B2-9BB6-19E98A9BB7EA}" destId="{247C21AC-9B61-4281-BBF8-E1D7062D33D7}" srcOrd="0" destOrd="0" presId="urn:microsoft.com/office/officeart/2005/8/layout/hierarchy6"/>
    <dgm:cxn modelId="{713EFD19-EA11-444E-AAE6-060A9CCE48E8}" srcId="{2787F9B9-D9EE-40F6-ABD4-C13F268A8AF1}" destId="{D84DD7AB-A1C4-4A77-B583-CCF2DADB3362}" srcOrd="0" destOrd="0" parTransId="{9D361AED-F287-426D-889C-035A581FCAD4}" sibTransId="{E3590AD4-F655-4C32-8A76-03F5AA05AA3D}"/>
    <dgm:cxn modelId="{0CEB1D1A-185D-41D7-BD0D-D5B9610F09A6}" srcId="{2787F9B9-D9EE-40F6-ABD4-C13F268A8AF1}" destId="{FE5A3D51-3C08-4DB9-99E3-39C94436AA5B}" srcOrd="2" destOrd="0" parTransId="{3A2A32F0-C73D-42A0-BA11-AFA02ABE79C2}" sibTransId="{0F8254DD-18D7-4A6C-835F-A13BA5A1ABF4}"/>
    <dgm:cxn modelId="{9EB64F24-D344-40D5-82AE-82764E782499}" srcId="{FE5A3D51-3C08-4DB9-99E3-39C94436AA5B}" destId="{CCF9C9C3-9436-4F08-BECE-72E8B6AFA431}" srcOrd="1" destOrd="0" parTransId="{0FFC0143-DFCF-487A-8E06-4BFBBA87A847}" sibTransId="{C456548D-3730-4DA1-AE57-94C2B5144C9E}"/>
    <dgm:cxn modelId="{6D6BC824-56D3-49EC-9A51-B2C450622291}" type="presOf" srcId="{2787F9B9-D9EE-40F6-ABD4-C13F268A8AF1}" destId="{DEB0A647-2631-4887-AD37-8EF8357E972F}" srcOrd="0" destOrd="0" presId="urn:microsoft.com/office/officeart/2005/8/layout/hierarchy6"/>
    <dgm:cxn modelId="{C1E28041-E056-487B-9872-5D1D885FA3CC}" type="presOf" srcId="{9D361AED-F287-426D-889C-035A581FCAD4}" destId="{9B0BC5A7-6A70-41C3-871D-416E6CE7FB15}" srcOrd="0" destOrd="0" presId="urn:microsoft.com/office/officeart/2005/8/layout/hierarchy6"/>
    <dgm:cxn modelId="{08314642-1431-4067-B9A0-6D9945753515}" srcId="{6E762228-84FE-45B2-9BB6-19E98A9BB7EA}" destId="{2787F9B9-D9EE-40F6-ABD4-C13F268A8AF1}" srcOrd="0" destOrd="0" parTransId="{DAF4A804-FF79-40DF-805D-58E5C402C862}" sibTransId="{DDB7192C-92EF-4E0B-903F-AD6D902F08C6}"/>
    <dgm:cxn modelId="{47550056-B9BF-42F2-A85B-C9B36B21E767}" srcId="{2787F9B9-D9EE-40F6-ABD4-C13F268A8AF1}" destId="{8277FB8B-9D39-4CC5-BDEC-D3827308642F}" srcOrd="1" destOrd="0" parTransId="{69703607-1CEF-4962-A22B-C8239D13F2F4}" sibTransId="{B7F48C3C-2138-401F-8EBB-A2B410C5EF6D}"/>
    <dgm:cxn modelId="{303BAABE-F4E6-44F1-96AC-A8AE2D2A6D46}" type="presOf" srcId="{270DB351-209F-44E3-AE5D-DD3AA05A8175}" destId="{8F552DA2-FC5B-40D6-B601-DCA076FAF8FB}" srcOrd="0" destOrd="0" presId="urn:microsoft.com/office/officeart/2005/8/layout/hierarchy6"/>
    <dgm:cxn modelId="{46BC1EC0-84C3-4889-A2F3-CE21CABB0BAE}" type="presOf" srcId="{8277FB8B-9D39-4CC5-BDEC-D3827308642F}" destId="{B4399AFE-2603-47B7-BCBC-A239B44C86F5}" srcOrd="0" destOrd="0" presId="urn:microsoft.com/office/officeart/2005/8/layout/hierarchy6"/>
    <dgm:cxn modelId="{0759A1CC-6154-4AC1-8C68-E7C8035F2B73}" type="presOf" srcId="{3A2A32F0-C73D-42A0-BA11-AFA02ABE79C2}" destId="{9F73EFAA-AC05-4F91-9BA5-6E511FAF9278}" srcOrd="0" destOrd="0" presId="urn:microsoft.com/office/officeart/2005/8/layout/hierarchy6"/>
    <dgm:cxn modelId="{6CB467CD-485A-41D8-AE8E-92542DCD0B26}" type="presOf" srcId="{B2937768-267F-4FD0-B209-ADCABB3F2609}" destId="{5690923D-9059-4138-8ACF-90D405019F80}" srcOrd="0" destOrd="0" presId="urn:microsoft.com/office/officeart/2005/8/layout/hierarchy6"/>
    <dgm:cxn modelId="{EFC364E8-71F1-4B89-AE5A-2882920EF443}" srcId="{FE5A3D51-3C08-4DB9-99E3-39C94436AA5B}" destId="{270DB351-209F-44E3-AE5D-DD3AA05A8175}" srcOrd="0" destOrd="0" parTransId="{B2937768-267F-4FD0-B209-ADCABB3F2609}" sibTransId="{61AB407C-BF26-4766-9709-693A5355340D}"/>
    <dgm:cxn modelId="{C8B1D7F3-853B-4810-A980-038D222F6B26}" type="presOf" srcId="{FE5A3D51-3C08-4DB9-99E3-39C94436AA5B}" destId="{4819E298-A51F-4C6C-8730-AFE2F6D20F30}" srcOrd="0" destOrd="0" presId="urn:microsoft.com/office/officeart/2005/8/layout/hierarchy6"/>
    <dgm:cxn modelId="{360289F7-2D6E-4DE9-AC8C-65CE651AB3BF}" type="presOf" srcId="{CCF9C9C3-9436-4F08-BECE-72E8B6AFA431}" destId="{D082D06F-7A6B-4DD7-92D7-FEC51944094C}" srcOrd="0" destOrd="0" presId="urn:microsoft.com/office/officeart/2005/8/layout/hierarchy6"/>
    <dgm:cxn modelId="{AE7E44FA-DEBE-4832-82B6-950F63487B90}" type="presOf" srcId="{0FFC0143-DFCF-487A-8E06-4BFBBA87A847}" destId="{72CBE2B3-D899-424A-812B-7B9A78E6CC32}"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98166F22-2683-4216-8271-FED902733174}" type="presParOf" srcId="{6349854C-26F9-4527-A34B-FF8105524D97}" destId="{27544287-82C2-4948-9637-60B9656AE33E}" srcOrd="0" destOrd="0" presId="urn:microsoft.com/office/officeart/2005/8/layout/hierarchy6"/>
    <dgm:cxn modelId="{EC55ED2C-E1D5-47CB-90AF-3622AA46DC39}" type="presParOf" srcId="{27544287-82C2-4948-9637-60B9656AE33E}" destId="{DEB0A647-2631-4887-AD37-8EF8357E972F}" srcOrd="0" destOrd="0" presId="urn:microsoft.com/office/officeart/2005/8/layout/hierarchy6"/>
    <dgm:cxn modelId="{3B053A51-1207-4B6C-AF96-16A015DAE32B}" type="presParOf" srcId="{27544287-82C2-4948-9637-60B9656AE33E}" destId="{50299AF2-8E56-4139-91AA-88B7CD7A011D}" srcOrd="1" destOrd="0" presId="urn:microsoft.com/office/officeart/2005/8/layout/hierarchy6"/>
    <dgm:cxn modelId="{D02414F6-314E-41B1-81F9-1FD37BCCEDB8}" type="presParOf" srcId="{50299AF2-8E56-4139-91AA-88B7CD7A011D}" destId="{9B0BC5A7-6A70-41C3-871D-416E6CE7FB15}" srcOrd="0" destOrd="0" presId="urn:microsoft.com/office/officeart/2005/8/layout/hierarchy6"/>
    <dgm:cxn modelId="{D845A1A2-3A7A-431E-9814-32603FD04E89}" type="presParOf" srcId="{50299AF2-8E56-4139-91AA-88B7CD7A011D}" destId="{82EC63D1-694F-4FFF-9E6D-6674B591884B}" srcOrd="1" destOrd="0" presId="urn:microsoft.com/office/officeart/2005/8/layout/hierarchy6"/>
    <dgm:cxn modelId="{620681B5-2258-4FD2-83A6-80D4ED11083B}" type="presParOf" srcId="{82EC63D1-694F-4FFF-9E6D-6674B591884B}" destId="{A26B365E-E5E1-416D-9FD8-97105F38CB63}" srcOrd="0" destOrd="0" presId="urn:microsoft.com/office/officeart/2005/8/layout/hierarchy6"/>
    <dgm:cxn modelId="{682B93D1-19D8-4A24-AB55-87C834D55AFB}" type="presParOf" srcId="{82EC63D1-694F-4FFF-9E6D-6674B591884B}" destId="{D32E83C3-191F-40F1-AF6A-A970805EBE25}" srcOrd="1" destOrd="0" presId="urn:microsoft.com/office/officeart/2005/8/layout/hierarchy6"/>
    <dgm:cxn modelId="{3A4941F9-A956-479C-970B-BD6C1FBDACFB}" type="presParOf" srcId="{50299AF2-8E56-4139-91AA-88B7CD7A011D}" destId="{52433208-80E6-4924-B192-66BA710CE757}" srcOrd="2" destOrd="0" presId="urn:microsoft.com/office/officeart/2005/8/layout/hierarchy6"/>
    <dgm:cxn modelId="{9E12FB20-60F7-4FE9-8D9B-F2061942823A}" type="presParOf" srcId="{50299AF2-8E56-4139-91AA-88B7CD7A011D}" destId="{74EF38D0-35A5-46DE-BF51-2FE421E3C217}" srcOrd="3" destOrd="0" presId="urn:microsoft.com/office/officeart/2005/8/layout/hierarchy6"/>
    <dgm:cxn modelId="{D8BE1F0E-3CE2-4FB7-8453-C074E428D65E}" type="presParOf" srcId="{74EF38D0-35A5-46DE-BF51-2FE421E3C217}" destId="{B4399AFE-2603-47B7-BCBC-A239B44C86F5}" srcOrd="0" destOrd="0" presId="urn:microsoft.com/office/officeart/2005/8/layout/hierarchy6"/>
    <dgm:cxn modelId="{40963083-4A7F-4E53-9C48-01CB6CE12A87}" type="presParOf" srcId="{74EF38D0-35A5-46DE-BF51-2FE421E3C217}" destId="{B89EE319-8A68-4B6F-A445-40F4B0A04EE8}" srcOrd="1" destOrd="0" presId="urn:microsoft.com/office/officeart/2005/8/layout/hierarchy6"/>
    <dgm:cxn modelId="{F2002C25-2786-4667-BD0D-FBC5A9275543}" type="presParOf" srcId="{50299AF2-8E56-4139-91AA-88B7CD7A011D}" destId="{9F73EFAA-AC05-4F91-9BA5-6E511FAF9278}" srcOrd="4" destOrd="0" presId="urn:microsoft.com/office/officeart/2005/8/layout/hierarchy6"/>
    <dgm:cxn modelId="{6C8E08C9-894A-4A6C-8073-4CF377B619A7}" type="presParOf" srcId="{50299AF2-8E56-4139-91AA-88B7CD7A011D}" destId="{EEBFBD1D-D977-4A6E-A8F4-F0D34CB82784}" srcOrd="5" destOrd="0" presId="urn:microsoft.com/office/officeart/2005/8/layout/hierarchy6"/>
    <dgm:cxn modelId="{18464BC0-6773-472B-AD7A-73695C3405AB}" type="presParOf" srcId="{EEBFBD1D-D977-4A6E-A8F4-F0D34CB82784}" destId="{4819E298-A51F-4C6C-8730-AFE2F6D20F30}" srcOrd="0" destOrd="0" presId="urn:microsoft.com/office/officeart/2005/8/layout/hierarchy6"/>
    <dgm:cxn modelId="{F7E0B46D-27BF-4845-A2A4-AEC50A67FAD0}" type="presParOf" srcId="{EEBFBD1D-D977-4A6E-A8F4-F0D34CB82784}" destId="{973A634F-D053-4D7F-96EC-F5173C9A25FF}" srcOrd="1" destOrd="0" presId="urn:microsoft.com/office/officeart/2005/8/layout/hierarchy6"/>
    <dgm:cxn modelId="{52CBAF97-FE0E-4B4D-981D-0EC006DC2D8F}" type="presParOf" srcId="{973A634F-D053-4D7F-96EC-F5173C9A25FF}" destId="{5690923D-9059-4138-8ACF-90D405019F80}" srcOrd="0" destOrd="0" presId="urn:microsoft.com/office/officeart/2005/8/layout/hierarchy6"/>
    <dgm:cxn modelId="{5F67188E-73EA-47D4-A446-46D2220EFC3A}" type="presParOf" srcId="{973A634F-D053-4D7F-96EC-F5173C9A25FF}" destId="{2A332E69-B5C0-4A68-B4C3-29696724CD01}" srcOrd="1" destOrd="0" presId="urn:microsoft.com/office/officeart/2005/8/layout/hierarchy6"/>
    <dgm:cxn modelId="{BDD406A9-381A-403E-B6DB-0246D16AFD29}" type="presParOf" srcId="{2A332E69-B5C0-4A68-B4C3-29696724CD01}" destId="{8F552DA2-FC5B-40D6-B601-DCA076FAF8FB}" srcOrd="0" destOrd="0" presId="urn:microsoft.com/office/officeart/2005/8/layout/hierarchy6"/>
    <dgm:cxn modelId="{791F1FA0-8AD1-4C41-82D8-9FC906F8648C}" type="presParOf" srcId="{2A332E69-B5C0-4A68-B4C3-29696724CD01}" destId="{330902C9-A030-4F0E-8F44-4D46DA5BCFB1}" srcOrd="1" destOrd="0" presId="urn:microsoft.com/office/officeart/2005/8/layout/hierarchy6"/>
    <dgm:cxn modelId="{16D70F0E-6918-4ADB-8FFB-68BA6412649C}" type="presParOf" srcId="{973A634F-D053-4D7F-96EC-F5173C9A25FF}" destId="{72CBE2B3-D899-424A-812B-7B9A78E6CC32}" srcOrd="2" destOrd="0" presId="urn:microsoft.com/office/officeart/2005/8/layout/hierarchy6"/>
    <dgm:cxn modelId="{DB41706F-E148-4B9B-827D-BF3CE87D213A}" type="presParOf" srcId="{973A634F-D053-4D7F-96EC-F5173C9A25FF}" destId="{14A21586-238C-4BA6-9A76-728F09600A97}" srcOrd="3" destOrd="0" presId="urn:microsoft.com/office/officeart/2005/8/layout/hierarchy6"/>
    <dgm:cxn modelId="{7275DE5A-516F-4F91-9A49-04EC9D863A13}" type="presParOf" srcId="{14A21586-238C-4BA6-9A76-728F09600A97}" destId="{D082D06F-7A6B-4DD7-92D7-FEC51944094C}" srcOrd="0" destOrd="0" presId="urn:microsoft.com/office/officeart/2005/8/layout/hierarchy6"/>
    <dgm:cxn modelId="{E7468676-33D2-4222-812F-5961200BA967}" type="presParOf" srcId="{14A21586-238C-4BA6-9A76-728F09600A97}" destId="{34466C55-A8A8-4DB4-8BA4-2C99EE2E2FCD}"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E762228-84FE-45B2-9BB6-19E98A9BB7EA}" type="doc">
      <dgm:prSet loTypeId="urn:microsoft.com/office/officeart/2005/8/layout/hierarchy6" loCatId="hierarchy" qsTypeId="urn:microsoft.com/office/officeart/2005/8/quickstyle/3d4" qsCatId="3D" csTypeId="urn:microsoft.com/office/officeart/2005/8/colors/accent5_2" csCatId="accent5" phldr="1"/>
      <dgm:spPr/>
      <dgm:t>
        <a:bodyPr/>
        <a:lstStyle/>
        <a:p>
          <a:endParaRPr lang="en-US"/>
        </a:p>
      </dgm:t>
    </dgm:pt>
    <dgm:pt modelId="{CCF9C9C3-9436-4F08-BECE-72E8B6AFA431}" type="asst">
      <dgm:prSet phldrT="[Text]"/>
      <dgm:spPr>
        <a:solidFill>
          <a:schemeClr val="accent6">
            <a:lumMod val="75000"/>
          </a:schemeClr>
        </a:solidFill>
      </dgm:spPr>
      <dgm:t>
        <a:bodyPr/>
        <a:lstStyle/>
        <a:p>
          <a:r>
            <a:rPr lang="en-US" dirty="0"/>
            <a:t>Memory Grant Feedback (Row Mode)</a:t>
          </a:r>
        </a:p>
      </dgm:t>
    </dgm:pt>
    <dgm:pt modelId="{0FFC0143-DFCF-487A-8E06-4BFBBA87A847}" type="parTrans" cxnId="{9EB64F24-D344-40D5-82AE-82764E782499}">
      <dgm:prSet/>
      <dgm:spPr/>
      <dgm:t>
        <a:bodyPr/>
        <a:lstStyle/>
        <a:p>
          <a:endParaRPr lang="en-US"/>
        </a:p>
      </dgm:t>
    </dgm:pt>
    <dgm:pt modelId="{C456548D-3730-4DA1-AE57-94C2B5144C9E}" type="sibTrans" cxnId="{9EB64F24-D344-40D5-82AE-82764E782499}">
      <dgm:prSet/>
      <dgm:spPr/>
      <dgm:t>
        <a:bodyPr/>
        <a:lstStyle/>
        <a:p>
          <a:endParaRPr lang="en-US"/>
        </a:p>
      </dgm:t>
    </dgm:pt>
    <dgm:pt modelId="{247C21AC-9B61-4281-BBF8-E1D7062D33D7}" type="pres">
      <dgm:prSet presAssocID="{6E762228-84FE-45B2-9BB6-19E98A9BB7EA}" presName="mainComposite" presStyleCnt="0">
        <dgm:presLayoutVars>
          <dgm:chPref val="1"/>
          <dgm:dir/>
          <dgm:animOne val="branch"/>
          <dgm:animLvl val="lvl"/>
          <dgm:resizeHandles val="exact"/>
        </dgm:presLayoutVars>
      </dgm:prSet>
      <dgm:spPr/>
    </dgm:pt>
    <dgm:pt modelId="{169C25A0-B5C3-48BF-B082-506815C186CA}" type="pres">
      <dgm:prSet presAssocID="{6E762228-84FE-45B2-9BB6-19E98A9BB7EA}" presName="hierFlow" presStyleCnt="0"/>
      <dgm:spPr/>
    </dgm:pt>
    <dgm:pt modelId="{6349854C-26F9-4527-A34B-FF8105524D97}" type="pres">
      <dgm:prSet presAssocID="{6E762228-84FE-45B2-9BB6-19E98A9BB7EA}" presName="hierChild1" presStyleCnt="0">
        <dgm:presLayoutVars>
          <dgm:chPref val="1"/>
          <dgm:animOne val="branch"/>
          <dgm:animLvl val="lvl"/>
        </dgm:presLayoutVars>
      </dgm:prSet>
      <dgm:spPr/>
    </dgm:pt>
    <dgm:pt modelId="{2B7281C6-F6A2-4A70-9C46-C0C63CAD98BF}" type="pres">
      <dgm:prSet presAssocID="{CCF9C9C3-9436-4F08-BECE-72E8B6AFA431}" presName="Name14" presStyleCnt="0"/>
      <dgm:spPr/>
    </dgm:pt>
    <dgm:pt modelId="{386F9DF0-398B-4E24-817D-DCB130C0B943}" type="pres">
      <dgm:prSet presAssocID="{CCF9C9C3-9436-4F08-BECE-72E8B6AFA431}" presName="level1Shape" presStyleLbl="node0" presStyleIdx="0" presStyleCnt="1" custLinFactNeighborX="-7560" custLinFactNeighborY="66236">
        <dgm:presLayoutVars>
          <dgm:chPref val="3"/>
        </dgm:presLayoutVars>
      </dgm:prSet>
      <dgm:spPr/>
    </dgm:pt>
    <dgm:pt modelId="{2BFC8FD5-ED35-4F1F-818A-B2F9FFF50705}" type="pres">
      <dgm:prSet presAssocID="{CCF9C9C3-9436-4F08-BECE-72E8B6AFA431}" presName="hierChild2" presStyleCnt="0"/>
      <dgm:spPr/>
    </dgm:pt>
    <dgm:pt modelId="{944D2ECF-FF7F-4937-9891-343B25FA2353}" type="pres">
      <dgm:prSet presAssocID="{6E762228-84FE-45B2-9BB6-19E98A9BB7EA}" presName="bgShapesFlow" presStyleCnt="0"/>
      <dgm:spPr/>
    </dgm:pt>
  </dgm:ptLst>
  <dgm:cxnLst>
    <dgm:cxn modelId="{08638E16-9EB2-4C7E-B41E-FA1BCBB2B87E}" type="presOf" srcId="{6E762228-84FE-45B2-9BB6-19E98A9BB7EA}" destId="{247C21AC-9B61-4281-BBF8-E1D7062D33D7}" srcOrd="0" destOrd="0" presId="urn:microsoft.com/office/officeart/2005/8/layout/hierarchy6"/>
    <dgm:cxn modelId="{9EB64F24-D344-40D5-82AE-82764E782499}" srcId="{6E762228-84FE-45B2-9BB6-19E98A9BB7EA}" destId="{CCF9C9C3-9436-4F08-BECE-72E8B6AFA431}" srcOrd="0" destOrd="0" parTransId="{0FFC0143-DFCF-487A-8E06-4BFBBA87A847}" sibTransId="{C456548D-3730-4DA1-AE57-94C2B5144C9E}"/>
    <dgm:cxn modelId="{D8E1A8CB-7D95-497B-B6C4-39A1DE078E92}" type="presOf" srcId="{CCF9C9C3-9436-4F08-BECE-72E8B6AFA431}" destId="{386F9DF0-398B-4E24-817D-DCB130C0B943}" srcOrd="0" destOrd="0" presId="urn:microsoft.com/office/officeart/2005/8/layout/hierarchy6"/>
    <dgm:cxn modelId="{BC16BA9D-F8A1-4A8F-88C3-E71A59485898}" type="presParOf" srcId="{247C21AC-9B61-4281-BBF8-E1D7062D33D7}" destId="{169C25A0-B5C3-48BF-B082-506815C186CA}" srcOrd="0" destOrd="0" presId="urn:microsoft.com/office/officeart/2005/8/layout/hierarchy6"/>
    <dgm:cxn modelId="{19B86F79-F207-47CA-8900-5068BA6B3390}" type="presParOf" srcId="{169C25A0-B5C3-48BF-B082-506815C186CA}" destId="{6349854C-26F9-4527-A34B-FF8105524D97}" srcOrd="0" destOrd="0" presId="urn:microsoft.com/office/officeart/2005/8/layout/hierarchy6"/>
    <dgm:cxn modelId="{4407C468-5756-4CF8-A4E6-A14C970C17A2}" type="presParOf" srcId="{6349854C-26F9-4527-A34B-FF8105524D97}" destId="{2B7281C6-F6A2-4A70-9C46-C0C63CAD98BF}" srcOrd="0" destOrd="0" presId="urn:microsoft.com/office/officeart/2005/8/layout/hierarchy6"/>
    <dgm:cxn modelId="{DC9FFAF1-3745-4F65-8083-82A3051F8B3E}" type="presParOf" srcId="{2B7281C6-F6A2-4A70-9C46-C0C63CAD98BF}" destId="{386F9DF0-398B-4E24-817D-DCB130C0B943}" srcOrd="0" destOrd="0" presId="urn:microsoft.com/office/officeart/2005/8/layout/hierarchy6"/>
    <dgm:cxn modelId="{AE0F5274-7940-44D0-BE9E-D1A9DB177FD0}" type="presParOf" srcId="{2B7281C6-F6A2-4A70-9C46-C0C63CAD98BF}" destId="{2BFC8FD5-ED35-4F1F-818A-B2F9FFF50705}" srcOrd="1" destOrd="0" presId="urn:microsoft.com/office/officeart/2005/8/layout/hierarchy6"/>
    <dgm:cxn modelId="{3DB4B75F-2D39-412D-9A0E-10C63F85333A}" type="presParOf" srcId="{247C21AC-9B61-4281-BBF8-E1D7062D33D7}" destId="{944D2ECF-FF7F-4937-9891-343B25FA2353}"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F7EA9-1E01-4FFE-84FF-2108C119A703}">
      <dsp:nvSpPr>
        <dsp:cNvPr id="0" name=""/>
        <dsp:cNvSpPr/>
      </dsp:nvSpPr>
      <dsp:spPr>
        <a:xfrm>
          <a:off x="0" y="48741"/>
          <a:ext cx="10880725" cy="12168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An Overview of Intelligent Query Processing?</a:t>
          </a:r>
        </a:p>
      </dsp:txBody>
      <dsp:txXfrm>
        <a:off x="59399" y="108140"/>
        <a:ext cx="10761927" cy="1098002"/>
      </dsp:txXfrm>
    </dsp:sp>
    <dsp:sp modelId="{B3FF4F94-AFF8-45A0-8726-E9EEAE2647AC}">
      <dsp:nvSpPr>
        <dsp:cNvPr id="0" name=""/>
        <dsp:cNvSpPr/>
      </dsp:nvSpPr>
      <dsp:spPr>
        <a:xfrm>
          <a:off x="0" y="1452741"/>
          <a:ext cx="10880725" cy="1216800"/>
        </a:xfrm>
        <a:prstGeom prst="roundRect">
          <a:avLst/>
        </a:prstGeom>
        <a:gradFill rotWithShape="0">
          <a:gsLst>
            <a:gs pos="0">
              <a:schemeClr val="accent2">
                <a:hueOff val="-889166"/>
                <a:satOff val="18461"/>
                <a:lumOff val="196"/>
                <a:alphaOff val="0"/>
                <a:satMod val="103000"/>
                <a:lumMod val="102000"/>
                <a:tint val="94000"/>
              </a:schemeClr>
            </a:gs>
            <a:gs pos="50000">
              <a:schemeClr val="accent2">
                <a:hueOff val="-889166"/>
                <a:satOff val="18461"/>
                <a:lumOff val="196"/>
                <a:alphaOff val="0"/>
                <a:satMod val="110000"/>
                <a:lumMod val="100000"/>
                <a:shade val="100000"/>
              </a:schemeClr>
            </a:gs>
            <a:gs pos="100000">
              <a:schemeClr val="accent2">
                <a:hueOff val="-889166"/>
                <a:satOff val="18461"/>
                <a:lumOff val="19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Enabling and Disabling Features</a:t>
          </a:r>
        </a:p>
      </dsp:txBody>
      <dsp:txXfrm>
        <a:off x="59399" y="1512140"/>
        <a:ext cx="10761927" cy="1098002"/>
      </dsp:txXfrm>
    </dsp:sp>
    <dsp:sp modelId="{6FA26E25-59B6-46AF-B682-722BA7826235}">
      <dsp:nvSpPr>
        <dsp:cNvPr id="0" name=""/>
        <dsp:cNvSpPr/>
      </dsp:nvSpPr>
      <dsp:spPr>
        <a:xfrm>
          <a:off x="0" y="2856741"/>
          <a:ext cx="10880725" cy="1216800"/>
        </a:xfrm>
        <a:prstGeom prst="roundRect">
          <a:avLst/>
        </a:prstGeom>
        <a:gradFill rotWithShape="0">
          <a:gsLst>
            <a:gs pos="0">
              <a:schemeClr val="accent2">
                <a:hueOff val="-1778331"/>
                <a:satOff val="36921"/>
                <a:lumOff val="392"/>
                <a:alphaOff val="0"/>
                <a:satMod val="103000"/>
                <a:lumMod val="102000"/>
                <a:tint val="94000"/>
              </a:schemeClr>
            </a:gs>
            <a:gs pos="50000">
              <a:schemeClr val="accent2">
                <a:hueOff val="-1778331"/>
                <a:satOff val="36921"/>
                <a:lumOff val="392"/>
                <a:alphaOff val="0"/>
                <a:satMod val="110000"/>
                <a:lumMod val="100000"/>
                <a:shade val="100000"/>
              </a:schemeClr>
            </a:gs>
            <a:gs pos="100000">
              <a:schemeClr val="accent2">
                <a:hueOff val="-1778331"/>
                <a:satOff val="36921"/>
                <a:lumOff val="39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What is Memory Grant Feedback?</a:t>
          </a:r>
        </a:p>
      </dsp:txBody>
      <dsp:txXfrm>
        <a:off x="59399" y="2916140"/>
        <a:ext cx="10761927" cy="1098002"/>
      </dsp:txXfrm>
    </dsp:sp>
    <dsp:sp modelId="{06A6BAF2-CEC0-49FA-AEC5-EA456C95C9BB}">
      <dsp:nvSpPr>
        <dsp:cNvPr id="0" name=""/>
        <dsp:cNvSpPr/>
      </dsp:nvSpPr>
      <dsp:spPr>
        <a:xfrm>
          <a:off x="0" y="4260741"/>
          <a:ext cx="10880725" cy="1216800"/>
        </a:xfrm>
        <a:prstGeom prst="round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Demonstration</a:t>
          </a:r>
        </a:p>
      </dsp:txBody>
      <dsp:txXfrm>
        <a:off x="59399" y="4320140"/>
        <a:ext cx="10761927" cy="1098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4648107" y="2496"/>
          <a:ext cx="2131545" cy="142103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Adaptive Query Processing</a:t>
          </a:r>
        </a:p>
      </dsp:txBody>
      <dsp:txXfrm>
        <a:off x="4689728" y="44117"/>
        <a:ext cx="2048303" cy="1337788"/>
      </dsp:txXfrm>
    </dsp:sp>
    <dsp:sp modelId="{9F73EFAA-AC05-4F91-9BA5-6E511FAF9278}">
      <dsp:nvSpPr>
        <dsp:cNvPr id="0" name=""/>
        <dsp:cNvSpPr/>
      </dsp:nvSpPr>
      <dsp:spPr>
        <a:xfrm>
          <a:off x="5668160" y="1423526"/>
          <a:ext cx="91440" cy="568412"/>
        </a:xfrm>
        <a:custGeom>
          <a:avLst/>
          <a:gdLst/>
          <a:ahLst/>
          <a:cxnLst/>
          <a:rect l="0" t="0" r="0" b="0"/>
          <a:pathLst>
            <a:path>
              <a:moveTo>
                <a:pt x="45720" y="0"/>
              </a:moveTo>
              <a:lnTo>
                <a:pt x="45720" y="568412"/>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648107" y="1991938"/>
          <a:ext cx="2131545" cy="142103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Memory Grant Feedback</a:t>
          </a:r>
        </a:p>
      </dsp:txBody>
      <dsp:txXfrm>
        <a:off x="4689728" y="2033559"/>
        <a:ext cx="2048303" cy="1337788"/>
      </dsp:txXfrm>
    </dsp:sp>
    <dsp:sp modelId="{5690923D-9059-4138-8ACF-90D405019F80}">
      <dsp:nvSpPr>
        <dsp:cNvPr id="0" name=""/>
        <dsp:cNvSpPr/>
      </dsp:nvSpPr>
      <dsp:spPr>
        <a:xfrm>
          <a:off x="2946058" y="3412969"/>
          <a:ext cx="2767821" cy="568412"/>
        </a:xfrm>
        <a:custGeom>
          <a:avLst/>
          <a:gdLst/>
          <a:ahLst/>
          <a:cxnLst/>
          <a:rect l="0" t="0" r="0" b="0"/>
          <a:pathLst>
            <a:path>
              <a:moveTo>
                <a:pt x="2767821" y="0"/>
              </a:moveTo>
              <a:lnTo>
                <a:pt x="2767821" y="284206"/>
              </a:lnTo>
              <a:lnTo>
                <a:pt x="0" y="284206"/>
              </a:lnTo>
              <a:lnTo>
                <a:pt x="0" y="568412"/>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880285" y="3981381"/>
          <a:ext cx="2131545" cy="142103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Batch Mode</a:t>
          </a:r>
        </a:p>
      </dsp:txBody>
      <dsp:txXfrm>
        <a:off x="1921906" y="4023002"/>
        <a:ext cx="2048303" cy="1337788"/>
      </dsp:txXfrm>
    </dsp:sp>
    <dsp:sp modelId="{72CBE2B3-D899-424A-812B-7B9A78E6CC32}">
      <dsp:nvSpPr>
        <dsp:cNvPr id="0" name=""/>
        <dsp:cNvSpPr/>
      </dsp:nvSpPr>
      <dsp:spPr>
        <a:xfrm>
          <a:off x="5668160" y="3412969"/>
          <a:ext cx="91440" cy="568412"/>
        </a:xfrm>
        <a:custGeom>
          <a:avLst/>
          <a:gdLst/>
          <a:ahLst/>
          <a:cxnLst/>
          <a:rect l="0" t="0" r="0" b="0"/>
          <a:pathLst>
            <a:path>
              <a:moveTo>
                <a:pt x="45720" y="0"/>
              </a:moveTo>
              <a:lnTo>
                <a:pt x="45720" y="284206"/>
              </a:lnTo>
              <a:lnTo>
                <a:pt x="48906" y="284206"/>
              </a:lnTo>
              <a:lnTo>
                <a:pt x="48906" y="568412"/>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4651294" y="3981381"/>
          <a:ext cx="2131545" cy="1421030"/>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Row Mode</a:t>
          </a:r>
        </a:p>
      </dsp:txBody>
      <dsp:txXfrm>
        <a:off x="4692915" y="4023002"/>
        <a:ext cx="2048303" cy="1337788"/>
      </dsp:txXfrm>
    </dsp:sp>
    <dsp:sp modelId="{A8D469E3-D14D-4CB9-A0D2-EC7B1E91369D}">
      <dsp:nvSpPr>
        <dsp:cNvPr id="0" name=""/>
        <dsp:cNvSpPr/>
      </dsp:nvSpPr>
      <dsp:spPr>
        <a:xfrm>
          <a:off x="5713880" y="3412969"/>
          <a:ext cx="2771008" cy="568412"/>
        </a:xfrm>
        <a:custGeom>
          <a:avLst/>
          <a:gdLst/>
          <a:ahLst/>
          <a:cxnLst/>
          <a:rect l="0" t="0" r="0" b="0"/>
          <a:pathLst>
            <a:path>
              <a:moveTo>
                <a:pt x="0" y="0"/>
              </a:moveTo>
              <a:lnTo>
                <a:pt x="0" y="284206"/>
              </a:lnTo>
              <a:lnTo>
                <a:pt x="2771008" y="284206"/>
              </a:lnTo>
              <a:lnTo>
                <a:pt x="2771008" y="568412"/>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7422302" y="3981381"/>
          <a:ext cx="2125171" cy="1421030"/>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Feedback Persistence</a:t>
          </a:r>
        </a:p>
      </dsp:txBody>
      <dsp:txXfrm>
        <a:off x="7463923" y="4023002"/>
        <a:ext cx="2041929" cy="133778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4365EB-2ED1-4CFC-8BFA-0B60CA5A2F96}">
      <dsp:nvSpPr>
        <dsp:cNvPr id="0" name=""/>
        <dsp:cNvSpPr/>
      </dsp:nvSpPr>
      <dsp:spPr>
        <a:xfrm>
          <a:off x="0" y="395542"/>
          <a:ext cx="11144474" cy="110565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eedback is not persisted if the plan is evicted from cache or failover</a:t>
          </a:r>
        </a:p>
        <a:p>
          <a:pPr marL="171450" lvl="1" indent="-171450" algn="l" defTabSz="800100">
            <a:lnSpc>
              <a:spcPct val="90000"/>
            </a:lnSpc>
            <a:spcBef>
              <a:spcPct val="0"/>
            </a:spcBef>
            <a:spcAft>
              <a:spcPct val="15000"/>
            </a:spcAft>
            <a:buChar char="•"/>
          </a:pPr>
          <a:r>
            <a:rPr lang="en-US" sz="1800" kern="1200" dirty="0"/>
            <a:t>Record of how to adjust memory is lost and must re-learn</a:t>
          </a:r>
        </a:p>
      </dsp:txBody>
      <dsp:txXfrm>
        <a:off x="0" y="395542"/>
        <a:ext cx="11144474" cy="1105650"/>
      </dsp:txXfrm>
    </dsp:sp>
    <dsp:sp modelId="{89DAF6F2-441E-411B-A709-5BCA0EF94829}">
      <dsp:nvSpPr>
        <dsp:cNvPr id="0" name=""/>
        <dsp:cNvSpPr/>
      </dsp:nvSpPr>
      <dsp:spPr>
        <a:xfrm>
          <a:off x="557223" y="129862"/>
          <a:ext cx="7801131" cy="53136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Cache Eviction</a:t>
          </a:r>
        </a:p>
      </dsp:txBody>
      <dsp:txXfrm>
        <a:off x="583162" y="155801"/>
        <a:ext cx="7749253" cy="479482"/>
      </dsp:txXfrm>
    </dsp:sp>
    <dsp:sp modelId="{E70FDF43-97D4-43F1-A166-CC843657E64A}">
      <dsp:nvSpPr>
        <dsp:cNvPr id="0" name=""/>
        <dsp:cNvSpPr/>
      </dsp:nvSpPr>
      <dsp:spPr>
        <a:xfrm>
          <a:off x="0" y="1864072"/>
          <a:ext cx="11144474" cy="779625"/>
        </a:xfrm>
        <a:prstGeom prst="rect">
          <a:avLst/>
        </a:prstGeom>
        <a:solidFill>
          <a:schemeClr val="lt1">
            <a:alpha val="90000"/>
            <a:hueOff val="0"/>
            <a:satOff val="0"/>
            <a:lumOff val="0"/>
            <a:alphaOff val="0"/>
          </a:schemeClr>
        </a:solidFill>
        <a:ln w="25400" cap="flat" cmpd="sng" algn="ctr">
          <a:solidFill>
            <a:schemeClr val="accent4">
              <a:hueOff val="23295"/>
              <a:satOff val="-6229"/>
              <a:lumOff val="-405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Persist the memory grant feedback in the Query Store</a:t>
          </a:r>
        </a:p>
      </dsp:txBody>
      <dsp:txXfrm>
        <a:off x="0" y="1864072"/>
        <a:ext cx="11144474" cy="779625"/>
      </dsp:txXfrm>
    </dsp:sp>
    <dsp:sp modelId="{6B0312C1-241B-43B9-994D-378BC3536E11}">
      <dsp:nvSpPr>
        <dsp:cNvPr id="0" name=""/>
        <dsp:cNvSpPr/>
      </dsp:nvSpPr>
      <dsp:spPr>
        <a:xfrm>
          <a:off x="557223" y="1598392"/>
          <a:ext cx="7801131" cy="531360"/>
        </a:xfrm>
        <a:prstGeom prst="roundRect">
          <a:avLst/>
        </a:prstGeom>
        <a:solidFill>
          <a:schemeClr val="accent4">
            <a:hueOff val="23295"/>
            <a:satOff val="-6229"/>
            <a:lumOff val="-40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Persist the feedback</a:t>
          </a:r>
        </a:p>
      </dsp:txBody>
      <dsp:txXfrm>
        <a:off x="583162" y="1624331"/>
        <a:ext cx="7749253" cy="479482"/>
      </dsp:txXfrm>
    </dsp:sp>
    <dsp:sp modelId="{3C607330-65A2-46F4-B605-9E229960D447}">
      <dsp:nvSpPr>
        <dsp:cNvPr id="0" name=""/>
        <dsp:cNvSpPr/>
      </dsp:nvSpPr>
      <dsp:spPr>
        <a:xfrm>
          <a:off x="0" y="3006577"/>
          <a:ext cx="11144474" cy="1105650"/>
        </a:xfrm>
        <a:prstGeom prst="rect">
          <a:avLst/>
        </a:prstGeom>
        <a:solidFill>
          <a:schemeClr val="lt1">
            <a:alpha val="90000"/>
            <a:hueOff val="0"/>
            <a:satOff val="0"/>
            <a:lumOff val="0"/>
            <a:alphaOff val="0"/>
          </a:schemeClr>
        </a:solidFill>
        <a:ln w="25400" cap="flat" cmpd="sng" algn="ctr">
          <a:solidFill>
            <a:schemeClr val="accent4">
              <a:hueOff val="46589"/>
              <a:satOff val="-12457"/>
              <a:lumOff val="-810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Memory grants adjusted based on last feedback</a:t>
          </a:r>
        </a:p>
        <a:p>
          <a:pPr marL="171450" lvl="1" indent="-171450" algn="l" defTabSz="800100">
            <a:lnSpc>
              <a:spcPct val="90000"/>
            </a:lnSpc>
            <a:spcBef>
              <a:spcPct val="0"/>
            </a:spcBef>
            <a:spcAft>
              <a:spcPct val="15000"/>
            </a:spcAft>
            <a:buChar char="•"/>
          </a:pPr>
          <a:r>
            <a:rPr lang="en-US" sz="1800" kern="1200" dirty="0"/>
            <a:t>Parameter Sensitive Plans could change feedback </a:t>
          </a:r>
        </a:p>
      </dsp:txBody>
      <dsp:txXfrm>
        <a:off x="0" y="3006577"/>
        <a:ext cx="11144474" cy="1105650"/>
      </dsp:txXfrm>
    </dsp:sp>
    <dsp:sp modelId="{4A5C3DE5-1DE8-48D4-9600-4DF71555FC36}">
      <dsp:nvSpPr>
        <dsp:cNvPr id="0" name=""/>
        <dsp:cNvSpPr/>
      </dsp:nvSpPr>
      <dsp:spPr>
        <a:xfrm>
          <a:off x="557223" y="2740897"/>
          <a:ext cx="7801131" cy="531360"/>
        </a:xfrm>
        <a:prstGeom prst="roundRect">
          <a:avLst/>
        </a:prstGeom>
        <a:solidFill>
          <a:schemeClr val="accent4">
            <a:hueOff val="46589"/>
            <a:satOff val="-12457"/>
            <a:lumOff val="-81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Problem</a:t>
          </a:r>
          <a:r>
            <a:rPr lang="en-US" sz="1800" kern="1200" dirty="0"/>
            <a:t>: Oscillating Feedback</a:t>
          </a:r>
        </a:p>
      </dsp:txBody>
      <dsp:txXfrm>
        <a:off x="583162" y="2766836"/>
        <a:ext cx="7749253" cy="479482"/>
      </dsp:txXfrm>
    </dsp:sp>
    <dsp:sp modelId="{7F7D9184-5CA0-410E-A61D-9721ADBFAFAE}">
      <dsp:nvSpPr>
        <dsp:cNvPr id="0" name=""/>
        <dsp:cNvSpPr/>
      </dsp:nvSpPr>
      <dsp:spPr>
        <a:xfrm>
          <a:off x="0" y="4475107"/>
          <a:ext cx="11144474" cy="779625"/>
        </a:xfrm>
        <a:prstGeom prst="rect">
          <a:avLst/>
        </a:prstGeom>
        <a:solidFill>
          <a:schemeClr val="lt1">
            <a:alpha val="90000"/>
            <a:hueOff val="0"/>
            <a:satOff val="0"/>
            <a:lumOff val="0"/>
            <a:alphaOff val="0"/>
          </a:schemeClr>
        </a:solidFill>
        <a:ln w="25400" cap="flat" cmpd="sng" algn="ctr">
          <a:solidFill>
            <a:schemeClr val="accent4">
              <a:hueOff val="69884"/>
              <a:satOff val="-18686"/>
              <a:lumOff val="-121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4935" tIns="374904" rIns="86493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mooths the grant size values based on execution usage history</a:t>
          </a:r>
        </a:p>
      </dsp:txBody>
      <dsp:txXfrm>
        <a:off x="0" y="4475107"/>
        <a:ext cx="11144474" cy="779625"/>
      </dsp:txXfrm>
    </dsp:sp>
    <dsp:sp modelId="{32A2D360-36C0-494E-954B-FEDE3893F373}">
      <dsp:nvSpPr>
        <dsp:cNvPr id="0" name=""/>
        <dsp:cNvSpPr/>
      </dsp:nvSpPr>
      <dsp:spPr>
        <a:xfrm>
          <a:off x="557223" y="4209427"/>
          <a:ext cx="7801131" cy="531360"/>
        </a:xfrm>
        <a:prstGeom prst="roundRect">
          <a:avLst/>
        </a:prstGeom>
        <a:solidFill>
          <a:schemeClr val="accent4">
            <a:hueOff val="69884"/>
            <a:satOff val="-18686"/>
            <a:lumOff val="-1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4864" tIns="0" rIns="294864" bIns="0" numCol="1" spcCol="1270" anchor="ctr" anchorCtr="0">
          <a:noAutofit/>
        </a:bodyPr>
        <a:lstStyle/>
        <a:p>
          <a:pPr marL="0" lvl="0" indent="0" algn="l" defTabSz="800100">
            <a:lnSpc>
              <a:spcPct val="90000"/>
            </a:lnSpc>
            <a:spcBef>
              <a:spcPct val="0"/>
            </a:spcBef>
            <a:spcAft>
              <a:spcPct val="35000"/>
            </a:spcAft>
            <a:buNone/>
          </a:pPr>
          <a:r>
            <a:rPr lang="en-US" sz="1800" b="1" kern="1200" dirty="0"/>
            <a:t>Solution</a:t>
          </a:r>
          <a:r>
            <a:rPr lang="en-US" sz="1800" kern="1200" dirty="0"/>
            <a:t>: Percentile-based calculation</a:t>
          </a:r>
        </a:p>
      </dsp:txBody>
      <dsp:txXfrm>
        <a:off x="583162" y="4235366"/>
        <a:ext cx="7749253" cy="47948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720781"/>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741185"/>
        <a:ext cx="1004180" cy="655850"/>
      </dsp:txXfrm>
    </dsp:sp>
    <dsp:sp modelId="{2A969FB1-A0CA-4BCB-9811-B1C2A2D37CF2}">
      <dsp:nvSpPr>
        <dsp:cNvPr id="0" name=""/>
        <dsp:cNvSpPr/>
      </dsp:nvSpPr>
      <dsp:spPr>
        <a:xfrm>
          <a:off x="3244411" y="2417439"/>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69610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716507"/>
        <a:ext cx="1004180" cy="655850"/>
      </dsp:txXfrm>
    </dsp:sp>
    <dsp:sp modelId="{9B0BC5A7-6A70-41C3-871D-416E6CE7FB15}">
      <dsp:nvSpPr>
        <dsp:cNvPr id="0" name=""/>
        <dsp:cNvSpPr/>
      </dsp:nvSpPr>
      <dsp:spPr>
        <a:xfrm>
          <a:off x="527442" y="3392762"/>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671425"/>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691829"/>
        <a:ext cx="1004180" cy="655850"/>
      </dsp:txXfrm>
    </dsp:sp>
    <dsp:sp modelId="{52433208-80E6-4924-B192-66BA710CE757}">
      <dsp:nvSpPr>
        <dsp:cNvPr id="0" name=""/>
        <dsp:cNvSpPr/>
      </dsp:nvSpPr>
      <dsp:spPr>
        <a:xfrm>
          <a:off x="1885927" y="3392762"/>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671425"/>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691829"/>
        <a:ext cx="1004180" cy="655850"/>
      </dsp:txXfrm>
    </dsp:sp>
    <dsp:sp modelId="{BF248486-F648-4871-903F-93B482640036}">
      <dsp:nvSpPr>
        <dsp:cNvPr id="0" name=""/>
        <dsp:cNvSpPr/>
      </dsp:nvSpPr>
      <dsp:spPr>
        <a:xfrm>
          <a:off x="3198691" y="3392762"/>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671425"/>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691829"/>
        <a:ext cx="1004180" cy="655850"/>
      </dsp:txXfrm>
    </dsp:sp>
    <dsp:sp modelId="{5690923D-9059-4138-8ACF-90D405019F80}">
      <dsp:nvSpPr>
        <dsp:cNvPr id="0" name=""/>
        <dsp:cNvSpPr/>
      </dsp:nvSpPr>
      <dsp:spPr>
        <a:xfrm>
          <a:off x="1885927" y="4368084"/>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64674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667152"/>
        <a:ext cx="1004180" cy="655850"/>
      </dsp:txXfrm>
    </dsp:sp>
    <dsp:sp modelId="{810926B5-7D25-4DDF-8B56-5D578BE910C7}">
      <dsp:nvSpPr>
        <dsp:cNvPr id="0" name=""/>
        <dsp:cNvSpPr/>
      </dsp:nvSpPr>
      <dsp:spPr>
        <a:xfrm>
          <a:off x="3198691" y="4368084"/>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64674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667152"/>
        <a:ext cx="1004180" cy="655850"/>
      </dsp:txXfrm>
    </dsp:sp>
    <dsp:sp modelId="{5CC0C396-8377-475C-A00D-7F8341A1F477}">
      <dsp:nvSpPr>
        <dsp:cNvPr id="0" name=""/>
        <dsp:cNvSpPr/>
      </dsp:nvSpPr>
      <dsp:spPr>
        <a:xfrm>
          <a:off x="3244411" y="4368084"/>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64674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667152"/>
        <a:ext cx="1004180" cy="655850"/>
      </dsp:txXfrm>
    </dsp:sp>
    <dsp:sp modelId="{D0464A9B-83F7-4A2D-94B3-57ED5F3C091B}">
      <dsp:nvSpPr>
        <dsp:cNvPr id="0" name=""/>
        <dsp:cNvSpPr/>
      </dsp:nvSpPr>
      <dsp:spPr>
        <a:xfrm>
          <a:off x="3244411" y="3392762"/>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691829"/>
        <a:ext cx="1004180" cy="655850"/>
      </dsp:txXfrm>
    </dsp:sp>
    <dsp:sp modelId="{BC3E3219-39C3-4268-83EE-67E130107410}">
      <dsp:nvSpPr>
        <dsp:cNvPr id="0" name=""/>
        <dsp:cNvSpPr/>
      </dsp:nvSpPr>
      <dsp:spPr>
        <a:xfrm>
          <a:off x="3244411" y="3392762"/>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691829"/>
        <a:ext cx="1004180" cy="655850"/>
      </dsp:txXfrm>
    </dsp:sp>
    <dsp:sp modelId="{54FE398B-EB4B-4376-8CAD-D5884C340DB3}">
      <dsp:nvSpPr>
        <dsp:cNvPr id="0" name=""/>
        <dsp:cNvSpPr/>
      </dsp:nvSpPr>
      <dsp:spPr>
        <a:xfrm>
          <a:off x="4602896" y="2417439"/>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716507"/>
        <a:ext cx="1004180" cy="655850"/>
      </dsp:txXfrm>
    </dsp:sp>
    <dsp:sp modelId="{54FC7E62-6BC8-4117-AE83-F7D461A58C56}">
      <dsp:nvSpPr>
        <dsp:cNvPr id="0" name=""/>
        <dsp:cNvSpPr/>
      </dsp:nvSpPr>
      <dsp:spPr>
        <a:xfrm>
          <a:off x="5961381" y="2417439"/>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716507"/>
        <a:ext cx="1004180" cy="655850"/>
      </dsp:txXfrm>
    </dsp:sp>
    <dsp:sp modelId="{8348335F-5BEF-45E6-9491-BE36F00A5827}">
      <dsp:nvSpPr>
        <dsp:cNvPr id="0" name=""/>
        <dsp:cNvSpPr/>
      </dsp:nvSpPr>
      <dsp:spPr>
        <a:xfrm>
          <a:off x="7274145" y="2417439"/>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716507"/>
        <a:ext cx="1004180" cy="655850"/>
      </dsp:txXfrm>
    </dsp:sp>
    <dsp:sp modelId="{6BEB96AB-5069-4522-8BFE-22AE1E1907A1}">
      <dsp:nvSpPr>
        <dsp:cNvPr id="0" name=""/>
        <dsp:cNvSpPr/>
      </dsp:nvSpPr>
      <dsp:spPr>
        <a:xfrm>
          <a:off x="7319865" y="2417439"/>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69610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716507"/>
        <a:ext cx="1004180" cy="655850"/>
      </dsp:txXfrm>
    </dsp:sp>
    <dsp:sp modelId="{29F63BC1-C5FC-44AA-8F97-ECEF56FF0ECF}">
      <dsp:nvSpPr>
        <dsp:cNvPr id="0" name=""/>
        <dsp:cNvSpPr/>
      </dsp:nvSpPr>
      <dsp:spPr>
        <a:xfrm>
          <a:off x="7999107" y="3392762"/>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671425"/>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691829"/>
        <a:ext cx="1004180" cy="655850"/>
      </dsp:txXfrm>
    </dsp:sp>
    <dsp:sp modelId="{A1CDEA6C-5A4D-425A-B7B4-C84037695A33}">
      <dsp:nvSpPr>
        <dsp:cNvPr id="0" name=""/>
        <dsp:cNvSpPr/>
      </dsp:nvSpPr>
      <dsp:spPr>
        <a:xfrm>
          <a:off x="8678350" y="3392762"/>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671425"/>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691829"/>
        <a:ext cx="1004180" cy="655850"/>
      </dsp:txXfrm>
    </dsp:sp>
    <dsp:sp modelId="{F82B889D-DE37-40F0-8FFB-E4677B4D6302}">
      <dsp:nvSpPr>
        <dsp:cNvPr id="0" name=""/>
        <dsp:cNvSpPr/>
      </dsp:nvSpPr>
      <dsp:spPr>
        <a:xfrm>
          <a:off x="7319865" y="2417439"/>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3135B42-D037-4853-9860-012953D934F7}">
      <dsp:nvSpPr>
        <dsp:cNvPr id="0" name=""/>
        <dsp:cNvSpPr/>
      </dsp:nvSpPr>
      <dsp:spPr>
        <a:xfrm>
          <a:off x="9514340" y="269610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716507"/>
        <a:ext cx="1004180" cy="655850"/>
      </dsp:txXfrm>
    </dsp:sp>
    <dsp:sp modelId="{09C8B667-CAD7-4DC0-985B-9B8F058B52AE}">
      <dsp:nvSpPr>
        <dsp:cNvPr id="0" name=""/>
        <dsp:cNvSpPr/>
      </dsp:nvSpPr>
      <dsp:spPr>
        <a:xfrm>
          <a:off x="7319865" y="2417439"/>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69610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716507"/>
        <a:ext cx="1004180" cy="6558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722D08-C011-4DD1-8142-126293CB9841}">
      <dsp:nvSpPr>
        <dsp:cNvPr id="0" name=""/>
        <dsp:cNvSpPr/>
      </dsp:nvSpPr>
      <dsp:spPr>
        <a:xfrm rot="5400000">
          <a:off x="7206189" y="-2885783"/>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4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30 or lower</a:t>
          </a:r>
          <a:endParaRPr lang="en-US" sz="2200" kern="1200"/>
        </a:p>
      </dsp:txBody>
      <dsp:txXfrm rot="-5400000">
        <a:off x="4156647" y="226757"/>
        <a:ext cx="7326598" cy="1164516"/>
      </dsp:txXfrm>
    </dsp:sp>
    <dsp:sp modelId="{218FD34E-2541-406A-A55B-A25B88950A10}">
      <dsp:nvSpPr>
        <dsp:cNvPr id="0" name=""/>
        <dsp:cNvSpPr/>
      </dsp:nvSpPr>
      <dsp:spPr>
        <a:xfrm>
          <a:off x="0" y="2444"/>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7 Features</a:t>
          </a:r>
          <a:endParaRPr lang="en-US" sz="4200" kern="1200"/>
        </a:p>
      </dsp:txBody>
      <dsp:txXfrm>
        <a:off x="78747" y="81191"/>
        <a:ext cx="3999153" cy="1455647"/>
      </dsp:txXfrm>
    </dsp:sp>
    <dsp:sp modelId="{57B402D0-3813-4A24-A54B-61124215544D}">
      <dsp:nvSpPr>
        <dsp:cNvPr id="0" name=""/>
        <dsp:cNvSpPr/>
      </dsp:nvSpPr>
      <dsp:spPr>
        <a:xfrm rot="5400000">
          <a:off x="7206189" y="-1191985"/>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5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40 or lower</a:t>
          </a:r>
          <a:endParaRPr lang="en-US" sz="2200" kern="1200"/>
        </a:p>
      </dsp:txBody>
      <dsp:txXfrm rot="-5400000">
        <a:off x="4156647" y="1920555"/>
        <a:ext cx="7326598" cy="1164516"/>
      </dsp:txXfrm>
    </dsp:sp>
    <dsp:sp modelId="{2CEAB421-F7F0-4DBA-8BC0-61523C870BAD}">
      <dsp:nvSpPr>
        <dsp:cNvPr id="0" name=""/>
        <dsp:cNvSpPr/>
      </dsp:nvSpPr>
      <dsp:spPr>
        <a:xfrm>
          <a:off x="0" y="1696242"/>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19 Features</a:t>
          </a:r>
          <a:endParaRPr lang="en-US" sz="4200" kern="1200"/>
        </a:p>
      </dsp:txBody>
      <dsp:txXfrm>
        <a:off x="78747" y="1774989"/>
        <a:ext cx="3999153" cy="1455647"/>
      </dsp:txXfrm>
    </dsp:sp>
    <dsp:sp modelId="{626A19CE-ED32-4563-82E3-899C299E48A3}">
      <dsp:nvSpPr>
        <dsp:cNvPr id="0" name=""/>
        <dsp:cNvSpPr/>
      </dsp:nvSpPr>
      <dsp:spPr>
        <a:xfrm rot="5400000">
          <a:off x="7206189" y="501813"/>
          <a:ext cx="1290512" cy="7389596"/>
        </a:xfrm>
        <a:prstGeom prst="round2Same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b="0" i="0" kern="1200" baseline="0"/>
            <a:t>Enabled by default in Compatibility level 160 or higher</a:t>
          </a:r>
          <a:endParaRPr lang="en-US" sz="2200" kern="1200"/>
        </a:p>
        <a:p>
          <a:pPr marL="228600" lvl="1" indent="-228600" algn="l" defTabSz="977900">
            <a:lnSpc>
              <a:spcPct val="90000"/>
            </a:lnSpc>
            <a:spcBef>
              <a:spcPct val="0"/>
            </a:spcBef>
            <a:spcAft>
              <a:spcPct val="15000"/>
            </a:spcAft>
            <a:buChar char="•"/>
          </a:pPr>
          <a:r>
            <a:rPr lang="en-US" sz="2200" b="0" i="0" kern="1200" baseline="0"/>
            <a:t>To disable change compatibility level to 150 or lower</a:t>
          </a:r>
          <a:endParaRPr lang="en-US" sz="2200" kern="1200"/>
        </a:p>
      </dsp:txBody>
      <dsp:txXfrm rot="-5400000">
        <a:off x="4156647" y="3614353"/>
        <a:ext cx="7326598" cy="1164516"/>
      </dsp:txXfrm>
    </dsp:sp>
    <dsp:sp modelId="{5B24DDF3-44E0-40FF-B14A-8F8A9E374E17}">
      <dsp:nvSpPr>
        <dsp:cNvPr id="0" name=""/>
        <dsp:cNvSpPr/>
      </dsp:nvSpPr>
      <dsp:spPr>
        <a:xfrm>
          <a:off x="0" y="3390040"/>
          <a:ext cx="4156647" cy="1613141"/>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b="0" i="0" kern="1200" baseline="0"/>
            <a:t>For SQL Server 2022 Features</a:t>
          </a:r>
          <a:endParaRPr lang="en-US" sz="4200" kern="1200"/>
        </a:p>
      </dsp:txBody>
      <dsp:txXfrm>
        <a:off x="78747" y="3468787"/>
        <a:ext cx="3999153" cy="14556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BA63-FE57-4310-9773-8D919F0A46E5}">
      <dsp:nvSpPr>
        <dsp:cNvPr id="0" name=""/>
        <dsp:cNvSpPr/>
      </dsp:nvSpPr>
      <dsp:spPr>
        <a:xfrm>
          <a:off x="6797371" y="1577346"/>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lligent Query Processing</a:t>
          </a:r>
        </a:p>
      </dsp:txBody>
      <dsp:txXfrm>
        <a:off x="6817775" y="1597750"/>
        <a:ext cx="1004180" cy="655850"/>
      </dsp:txXfrm>
    </dsp:sp>
    <dsp:sp modelId="{2A969FB1-A0CA-4BCB-9811-B1C2A2D37CF2}">
      <dsp:nvSpPr>
        <dsp:cNvPr id="0" name=""/>
        <dsp:cNvSpPr/>
      </dsp:nvSpPr>
      <dsp:spPr>
        <a:xfrm>
          <a:off x="3244411" y="2274004"/>
          <a:ext cx="4075453" cy="278663"/>
        </a:xfrm>
        <a:custGeom>
          <a:avLst/>
          <a:gdLst/>
          <a:ahLst/>
          <a:cxnLst/>
          <a:rect l="0" t="0" r="0" b="0"/>
          <a:pathLst>
            <a:path>
              <a:moveTo>
                <a:pt x="4075453" y="0"/>
              </a:moveTo>
              <a:lnTo>
                <a:pt x="4075453"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AC8CF5E-1D5D-4BBE-AAC6-1A65B9CD9224}">
      <dsp:nvSpPr>
        <dsp:cNvPr id="0" name=""/>
        <dsp:cNvSpPr/>
      </dsp:nvSpPr>
      <dsp:spPr>
        <a:xfrm>
          <a:off x="2721917" y="2552668"/>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Query Processing</a:t>
          </a:r>
        </a:p>
      </dsp:txBody>
      <dsp:txXfrm>
        <a:off x="2742321" y="2573072"/>
        <a:ext cx="1004180" cy="655850"/>
      </dsp:txXfrm>
    </dsp:sp>
    <dsp:sp modelId="{9B0BC5A7-6A70-41C3-871D-416E6CE7FB15}">
      <dsp:nvSpPr>
        <dsp:cNvPr id="0" name=""/>
        <dsp:cNvSpPr/>
      </dsp:nvSpPr>
      <dsp:spPr>
        <a:xfrm>
          <a:off x="527442" y="3249327"/>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4948" y="3527990"/>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daptive Joins</a:t>
          </a:r>
        </a:p>
      </dsp:txBody>
      <dsp:txXfrm>
        <a:off x="25352" y="3548394"/>
        <a:ext cx="1004180" cy="655850"/>
      </dsp:txXfrm>
    </dsp:sp>
    <dsp:sp modelId="{52433208-80E6-4924-B192-66BA710CE757}">
      <dsp:nvSpPr>
        <dsp:cNvPr id="0" name=""/>
        <dsp:cNvSpPr/>
      </dsp:nvSpPr>
      <dsp:spPr>
        <a:xfrm>
          <a:off x="1885927" y="3249327"/>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1363433" y="3527990"/>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terleaved Execution</a:t>
          </a:r>
        </a:p>
      </dsp:txBody>
      <dsp:txXfrm>
        <a:off x="1383837" y="3548394"/>
        <a:ext cx="1004180" cy="655850"/>
      </dsp:txXfrm>
    </dsp:sp>
    <dsp:sp modelId="{BF248486-F648-4871-903F-93B482640036}">
      <dsp:nvSpPr>
        <dsp:cNvPr id="0" name=""/>
        <dsp:cNvSpPr/>
      </dsp:nvSpPr>
      <dsp:spPr>
        <a:xfrm>
          <a:off x="3198691" y="3249327"/>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027D77-40B4-492F-B9BC-73968B2B92A0}">
      <dsp:nvSpPr>
        <dsp:cNvPr id="0" name=""/>
        <dsp:cNvSpPr/>
      </dsp:nvSpPr>
      <dsp:spPr>
        <a:xfrm>
          <a:off x="2721917" y="3527990"/>
          <a:ext cx="1044988" cy="696658"/>
        </a:xfrm>
        <a:prstGeom prst="roundRect">
          <a:avLst>
            <a:gd name="adj" fmla="val 10000"/>
          </a:avLst>
        </a:prstGeom>
        <a:solidFill>
          <a:schemeClr val="accent5"/>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Memory Grant Feedback</a:t>
          </a:r>
        </a:p>
      </dsp:txBody>
      <dsp:txXfrm>
        <a:off x="2742321" y="3548394"/>
        <a:ext cx="1004180" cy="655850"/>
      </dsp:txXfrm>
    </dsp:sp>
    <dsp:sp modelId="{5690923D-9059-4138-8ACF-90D405019F80}">
      <dsp:nvSpPr>
        <dsp:cNvPr id="0" name=""/>
        <dsp:cNvSpPr/>
      </dsp:nvSpPr>
      <dsp:spPr>
        <a:xfrm>
          <a:off x="1885927" y="4224649"/>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363433" y="4503313"/>
          <a:ext cx="1044988" cy="696658"/>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a:t>
          </a:r>
        </a:p>
      </dsp:txBody>
      <dsp:txXfrm>
        <a:off x="1383837" y="4523717"/>
        <a:ext cx="1004180" cy="655850"/>
      </dsp:txXfrm>
    </dsp:sp>
    <dsp:sp modelId="{810926B5-7D25-4DDF-8B56-5D578BE910C7}">
      <dsp:nvSpPr>
        <dsp:cNvPr id="0" name=""/>
        <dsp:cNvSpPr/>
      </dsp:nvSpPr>
      <dsp:spPr>
        <a:xfrm>
          <a:off x="3198691" y="4224649"/>
          <a:ext cx="91440" cy="278663"/>
        </a:xfrm>
        <a:custGeom>
          <a:avLst/>
          <a:gdLst/>
          <a:ahLst/>
          <a:cxnLst/>
          <a:rect l="0" t="0" r="0" b="0"/>
          <a:pathLst>
            <a:path>
              <a:moveTo>
                <a:pt x="45720" y="0"/>
              </a:moveTo>
              <a:lnTo>
                <a:pt x="4572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27787B6-C2E1-41AC-8A63-E0D44F6095FA}">
      <dsp:nvSpPr>
        <dsp:cNvPr id="0" name=""/>
        <dsp:cNvSpPr/>
      </dsp:nvSpPr>
      <dsp:spPr>
        <a:xfrm>
          <a:off x="2721917" y="4503313"/>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ow Mode</a:t>
          </a:r>
        </a:p>
      </dsp:txBody>
      <dsp:txXfrm>
        <a:off x="2742321" y="4523717"/>
        <a:ext cx="1004180" cy="655850"/>
      </dsp:txXfrm>
    </dsp:sp>
    <dsp:sp modelId="{5CC0C396-8377-475C-A00D-7F8341A1F477}">
      <dsp:nvSpPr>
        <dsp:cNvPr id="0" name=""/>
        <dsp:cNvSpPr/>
      </dsp:nvSpPr>
      <dsp:spPr>
        <a:xfrm>
          <a:off x="3244411" y="4224649"/>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B5BF8B-57A2-4E22-AA4A-CDE9EE34C77B}">
      <dsp:nvSpPr>
        <dsp:cNvPr id="0" name=""/>
        <dsp:cNvSpPr/>
      </dsp:nvSpPr>
      <dsp:spPr>
        <a:xfrm>
          <a:off x="4080402" y="4503313"/>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eedback Persistence</a:t>
          </a:r>
        </a:p>
      </dsp:txBody>
      <dsp:txXfrm>
        <a:off x="4100806" y="4523717"/>
        <a:ext cx="1004180" cy="655850"/>
      </dsp:txXfrm>
    </dsp:sp>
    <dsp:sp modelId="{D0464A9B-83F7-4A2D-94B3-57ED5F3C091B}">
      <dsp:nvSpPr>
        <dsp:cNvPr id="0" name=""/>
        <dsp:cNvSpPr/>
      </dsp:nvSpPr>
      <dsp:spPr>
        <a:xfrm>
          <a:off x="3244411" y="3249327"/>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97BDF46-D920-42CC-AE1D-3430A1C11D9E}">
      <dsp:nvSpPr>
        <dsp:cNvPr id="0" name=""/>
        <dsp:cNvSpPr/>
      </dsp:nvSpPr>
      <dsp:spPr>
        <a:xfrm>
          <a:off x="4080402"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E Feedback</a:t>
          </a:r>
        </a:p>
      </dsp:txBody>
      <dsp:txXfrm>
        <a:off x="4100806" y="3548394"/>
        <a:ext cx="1004180" cy="655850"/>
      </dsp:txXfrm>
    </dsp:sp>
    <dsp:sp modelId="{BC3E3219-39C3-4268-83EE-67E130107410}">
      <dsp:nvSpPr>
        <dsp:cNvPr id="0" name=""/>
        <dsp:cNvSpPr/>
      </dsp:nvSpPr>
      <dsp:spPr>
        <a:xfrm>
          <a:off x="3244411" y="3249327"/>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CB1E33-4F48-4A78-8612-EB7710CE8354}">
      <dsp:nvSpPr>
        <dsp:cNvPr id="0" name=""/>
        <dsp:cNvSpPr/>
      </dsp:nvSpPr>
      <dsp:spPr>
        <a:xfrm>
          <a:off x="5438886"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DOP Feedback</a:t>
          </a:r>
        </a:p>
      </dsp:txBody>
      <dsp:txXfrm>
        <a:off x="5459290" y="3548394"/>
        <a:ext cx="1004180" cy="655850"/>
      </dsp:txXfrm>
    </dsp:sp>
    <dsp:sp modelId="{54FE398B-EB4B-4376-8CAD-D5884C340DB3}">
      <dsp:nvSpPr>
        <dsp:cNvPr id="0" name=""/>
        <dsp:cNvSpPr/>
      </dsp:nvSpPr>
      <dsp:spPr>
        <a:xfrm>
          <a:off x="4602896" y="2274004"/>
          <a:ext cx="2716969" cy="278663"/>
        </a:xfrm>
        <a:custGeom>
          <a:avLst/>
          <a:gdLst/>
          <a:ahLst/>
          <a:cxnLst/>
          <a:rect l="0" t="0" r="0" b="0"/>
          <a:pathLst>
            <a:path>
              <a:moveTo>
                <a:pt x="2716969" y="0"/>
              </a:moveTo>
              <a:lnTo>
                <a:pt x="2716969"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7A4578FB-65D7-4CEC-85A5-A7F539A655E7}">
      <dsp:nvSpPr>
        <dsp:cNvPr id="0" name=""/>
        <dsp:cNvSpPr/>
      </dsp:nvSpPr>
      <dsp:spPr>
        <a:xfrm>
          <a:off x="4080402"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able Variable Deferred Compilation</a:t>
          </a:r>
        </a:p>
      </dsp:txBody>
      <dsp:txXfrm>
        <a:off x="4100806" y="2573072"/>
        <a:ext cx="1004180" cy="655850"/>
      </dsp:txXfrm>
    </dsp:sp>
    <dsp:sp modelId="{54FC7E62-6BC8-4117-AE83-F7D461A58C56}">
      <dsp:nvSpPr>
        <dsp:cNvPr id="0" name=""/>
        <dsp:cNvSpPr/>
      </dsp:nvSpPr>
      <dsp:spPr>
        <a:xfrm>
          <a:off x="5961381" y="2274004"/>
          <a:ext cx="1358484" cy="278663"/>
        </a:xfrm>
        <a:custGeom>
          <a:avLst/>
          <a:gdLst/>
          <a:ahLst/>
          <a:cxnLst/>
          <a:rect l="0" t="0" r="0" b="0"/>
          <a:pathLst>
            <a:path>
              <a:moveTo>
                <a:pt x="1358484" y="0"/>
              </a:moveTo>
              <a:lnTo>
                <a:pt x="1358484" y="139331"/>
              </a:lnTo>
              <a:lnTo>
                <a:pt x="0" y="139331"/>
              </a:lnTo>
              <a:lnTo>
                <a:pt x="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36367F8-D6E7-40DA-B927-34B62F97962A}">
      <dsp:nvSpPr>
        <dsp:cNvPr id="0" name=""/>
        <dsp:cNvSpPr/>
      </dsp:nvSpPr>
      <dsp:spPr>
        <a:xfrm>
          <a:off x="5438886"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tch Mode On Rowstore Indexes</a:t>
          </a:r>
        </a:p>
      </dsp:txBody>
      <dsp:txXfrm>
        <a:off x="5459290" y="2573072"/>
        <a:ext cx="1004180" cy="655850"/>
      </dsp:txXfrm>
    </dsp:sp>
    <dsp:sp modelId="{8348335F-5BEF-45E6-9491-BE36F00A5827}">
      <dsp:nvSpPr>
        <dsp:cNvPr id="0" name=""/>
        <dsp:cNvSpPr/>
      </dsp:nvSpPr>
      <dsp:spPr>
        <a:xfrm>
          <a:off x="7274145" y="2274004"/>
          <a:ext cx="91440" cy="278663"/>
        </a:xfrm>
        <a:custGeom>
          <a:avLst/>
          <a:gdLst/>
          <a:ahLst/>
          <a:cxnLst/>
          <a:rect l="0" t="0" r="0" b="0"/>
          <a:pathLst>
            <a:path>
              <a:moveTo>
                <a:pt x="45720" y="0"/>
              </a:moveTo>
              <a:lnTo>
                <a:pt x="45720"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2DF79E0D-2F54-4B1B-B9E0-B3F11AFE225E}">
      <dsp:nvSpPr>
        <dsp:cNvPr id="0" name=""/>
        <dsp:cNvSpPr/>
      </dsp:nvSpPr>
      <dsp:spPr>
        <a:xfrm>
          <a:off x="6797371"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calar UDF Inlining</a:t>
          </a:r>
        </a:p>
      </dsp:txBody>
      <dsp:txXfrm>
        <a:off x="6817775" y="2573072"/>
        <a:ext cx="1004180" cy="655850"/>
      </dsp:txXfrm>
    </dsp:sp>
    <dsp:sp modelId="{6BEB96AB-5069-4522-8BFE-22AE1E1907A1}">
      <dsp:nvSpPr>
        <dsp:cNvPr id="0" name=""/>
        <dsp:cNvSpPr/>
      </dsp:nvSpPr>
      <dsp:spPr>
        <a:xfrm>
          <a:off x="7319865" y="2274004"/>
          <a:ext cx="1358484" cy="278663"/>
        </a:xfrm>
        <a:custGeom>
          <a:avLst/>
          <a:gdLst/>
          <a:ahLst/>
          <a:cxnLst/>
          <a:rect l="0" t="0" r="0" b="0"/>
          <a:pathLst>
            <a:path>
              <a:moveTo>
                <a:pt x="0" y="0"/>
              </a:moveTo>
              <a:lnTo>
                <a:pt x="0" y="139331"/>
              </a:lnTo>
              <a:lnTo>
                <a:pt x="1358484" y="139331"/>
              </a:lnTo>
              <a:lnTo>
                <a:pt x="1358484"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1E36B6D-BDD4-43C9-BE13-97A72EABE1BB}">
      <dsp:nvSpPr>
        <dsp:cNvPr id="0" name=""/>
        <dsp:cNvSpPr/>
      </dsp:nvSpPr>
      <dsp:spPr>
        <a:xfrm>
          <a:off x="8155856" y="2552668"/>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Query Processing</a:t>
          </a:r>
        </a:p>
      </dsp:txBody>
      <dsp:txXfrm>
        <a:off x="8176260" y="2573072"/>
        <a:ext cx="1004180" cy="655850"/>
      </dsp:txXfrm>
    </dsp:sp>
    <dsp:sp modelId="{29F63BC1-C5FC-44AA-8F97-ECEF56FF0ECF}">
      <dsp:nvSpPr>
        <dsp:cNvPr id="0" name=""/>
        <dsp:cNvSpPr/>
      </dsp:nvSpPr>
      <dsp:spPr>
        <a:xfrm>
          <a:off x="7999107" y="3249327"/>
          <a:ext cx="679242" cy="278663"/>
        </a:xfrm>
        <a:custGeom>
          <a:avLst/>
          <a:gdLst/>
          <a:ahLst/>
          <a:cxnLst/>
          <a:rect l="0" t="0" r="0" b="0"/>
          <a:pathLst>
            <a:path>
              <a:moveTo>
                <a:pt x="679242" y="0"/>
              </a:moveTo>
              <a:lnTo>
                <a:pt x="679242" y="139331"/>
              </a:lnTo>
              <a:lnTo>
                <a:pt x="0" y="139331"/>
              </a:lnTo>
              <a:lnTo>
                <a:pt x="0"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09EF4D6-E038-4723-AE7F-3FAED8C2C122}">
      <dsp:nvSpPr>
        <dsp:cNvPr id="0" name=""/>
        <dsp:cNvSpPr/>
      </dsp:nvSpPr>
      <dsp:spPr>
        <a:xfrm>
          <a:off x="7476613" y="3527990"/>
          <a:ext cx="1044988" cy="696658"/>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Count Distinct</a:t>
          </a:r>
        </a:p>
      </dsp:txBody>
      <dsp:txXfrm>
        <a:off x="7497017" y="3548394"/>
        <a:ext cx="1004180" cy="655850"/>
      </dsp:txXfrm>
    </dsp:sp>
    <dsp:sp modelId="{A1CDEA6C-5A4D-425A-B7B4-C84037695A33}">
      <dsp:nvSpPr>
        <dsp:cNvPr id="0" name=""/>
        <dsp:cNvSpPr/>
      </dsp:nvSpPr>
      <dsp:spPr>
        <a:xfrm>
          <a:off x="8678350" y="3249327"/>
          <a:ext cx="679242" cy="278663"/>
        </a:xfrm>
        <a:custGeom>
          <a:avLst/>
          <a:gdLst/>
          <a:ahLst/>
          <a:cxnLst/>
          <a:rect l="0" t="0" r="0" b="0"/>
          <a:pathLst>
            <a:path>
              <a:moveTo>
                <a:pt x="0" y="0"/>
              </a:moveTo>
              <a:lnTo>
                <a:pt x="0" y="139331"/>
              </a:lnTo>
              <a:lnTo>
                <a:pt x="679242" y="139331"/>
              </a:lnTo>
              <a:lnTo>
                <a:pt x="679242" y="278663"/>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12D3DA4-5AF8-45B2-9FCC-D6582DACED2F}">
      <dsp:nvSpPr>
        <dsp:cNvPr id="0" name=""/>
        <dsp:cNvSpPr/>
      </dsp:nvSpPr>
      <dsp:spPr>
        <a:xfrm>
          <a:off x="8835098" y="3527990"/>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pproximate Percentile</a:t>
          </a:r>
        </a:p>
      </dsp:txBody>
      <dsp:txXfrm>
        <a:off x="8855502" y="3548394"/>
        <a:ext cx="1004180" cy="655850"/>
      </dsp:txXfrm>
    </dsp:sp>
    <dsp:sp modelId="{527B0E77-7EB2-429E-AE69-E261FDCB7833}">
      <dsp:nvSpPr>
        <dsp:cNvPr id="0" name=""/>
        <dsp:cNvSpPr/>
      </dsp:nvSpPr>
      <dsp:spPr>
        <a:xfrm>
          <a:off x="7319865" y="2274004"/>
          <a:ext cx="2716969" cy="278663"/>
        </a:xfrm>
        <a:custGeom>
          <a:avLst/>
          <a:gdLst/>
          <a:ahLst/>
          <a:cxnLst/>
          <a:rect l="0" t="0" r="0" b="0"/>
          <a:pathLst>
            <a:path>
              <a:moveTo>
                <a:pt x="0" y="0"/>
              </a:moveTo>
              <a:lnTo>
                <a:pt x="0" y="139331"/>
              </a:lnTo>
              <a:lnTo>
                <a:pt x="2716969" y="139331"/>
              </a:lnTo>
              <a:lnTo>
                <a:pt x="2716969"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60C6DAC9-637D-431F-9AFD-95F84B4698A9}">
      <dsp:nvSpPr>
        <dsp:cNvPr id="0" name=""/>
        <dsp:cNvSpPr/>
      </dsp:nvSpPr>
      <dsp:spPr>
        <a:xfrm>
          <a:off x="9514340" y="25526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ptimized Plan Forcing</a:t>
          </a:r>
        </a:p>
      </dsp:txBody>
      <dsp:txXfrm>
        <a:off x="9534744" y="2573072"/>
        <a:ext cx="1004180" cy="655850"/>
      </dsp:txXfrm>
    </dsp:sp>
    <dsp:sp modelId="{09C8B667-CAD7-4DC0-985B-9B8F058B52AE}">
      <dsp:nvSpPr>
        <dsp:cNvPr id="0" name=""/>
        <dsp:cNvSpPr/>
      </dsp:nvSpPr>
      <dsp:spPr>
        <a:xfrm>
          <a:off x="7319865" y="2274004"/>
          <a:ext cx="4075453" cy="278663"/>
        </a:xfrm>
        <a:custGeom>
          <a:avLst/>
          <a:gdLst/>
          <a:ahLst/>
          <a:cxnLst/>
          <a:rect l="0" t="0" r="0" b="0"/>
          <a:pathLst>
            <a:path>
              <a:moveTo>
                <a:pt x="0" y="0"/>
              </a:moveTo>
              <a:lnTo>
                <a:pt x="0" y="139331"/>
              </a:lnTo>
              <a:lnTo>
                <a:pt x="4075453" y="139331"/>
              </a:lnTo>
              <a:lnTo>
                <a:pt x="4075453" y="278663"/>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91731D73-B433-4ECC-937E-D3F66E307A04}">
      <dsp:nvSpPr>
        <dsp:cNvPr id="0" name=""/>
        <dsp:cNvSpPr/>
      </dsp:nvSpPr>
      <dsp:spPr>
        <a:xfrm>
          <a:off x="10872825" y="2552668"/>
          <a:ext cx="1044988" cy="696658"/>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arameter Sensitive Plan Optimization</a:t>
          </a:r>
        </a:p>
      </dsp:txBody>
      <dsp:txXfrm>
        <a:off x="10893229" y="2573072"/>
        <a:ext cx="1004180" cy="6558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1727955" y="754536"/>
          <a:ext cx="1329556" cy="88637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daptive Query Processing</a:t>
          </a:r>
        </a:p>
      </dsp:txBody>
      <dsp:txXfrm>
        <a:off x="1753916" y="780497"/>
        <a:ext cx="1277634" cy="834448"/>
      </dsp:txXfrm>
    </dsp:sp>
    <dsp:sp modelId="{9F73EFAA-AC05-4F91-9BA5-6E511FAF9278}">
      <dsp:nvSpPr>
        <dsp:cNvPr id="0" name=""/>
        <dsp:cNvSpPr/>
      </dsp:nvSpPr>
      <dsp:spPr>
        <a:xfrm>
          <a:off x="2347013" y="1640906"/>
          <a:ext cx="91440" cy="354548"/>
        </a:xfrm>
        <a:custGeom>
          <a:avLst/>
          <a:gdLst/>
          <a:ahLst/>
          <a:cxnLst/>
          <a:rect l="0" t="0" r="0" b="0"/>
          <a:pathLst>
            <a:path>
              <a:moveTo>
                <a:pt x="45720" y="0"/>
              </a:moveTo>
              <a:lnTo>
                <a:pt x="45720" y="354548"/>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1676328" y="1995455"/>
          <a:ext cx="1432809" cy="88637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Memory Grant Feedback</a:t>
          </a:r>
        </a:p>
      </dsp:txBody>
      <dsp:txXfrm>
        <a:off x="1702289" y="2021416"/>
        <a:ext cx="1380887" cy="834448"/>
      </dsp:txXfrm>
    </dsp:sp>
    <dsp:sp modelId="{5690923D-9059-4138-8ACF-90D405019F80}">
      <dsp:nvSpPr>
        <dsp:cNvPr id="0" name=""/>
        <dsp:cNvSpPr/>
      </dsp:nvSpPr>
      <dsp:spPr>
        <a:xfrm>
          <a:off x="666298" y="2881825"/>
          <a:ext cx="1726435" cy="354548"/>
        </a:xfrm>
        <a:custGeom>
          <a:avLst/>
          <a:gdLst/>
          <a:ahLst/>
          <a:cxnLst/>
          <a:rect l="0" t="0" r="0" b="0"/>
          <a:pathLst>
            <a:path>
              <a:moveTo>
                <a:pt x="1726435" y="0"/>
              </a:moveTo>
              <a:lnTo>
                <a:pt x="1726435" y="177274"/>
              </a:lnTo>
              <a:lnTo>
                <a:pt x="0" y="177274"/>
              </a:lnTo>
              <a:lnTo>
                <a:pt x="0" y="35454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1520" y="3236374"/>
          <a:ext cx="1329556" cy="886370"/>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Batch Mode</a:t>
          </a:r>
        </a:p>
      </dsp:txBody>
      <dsp:txXfrm>
        <a:off x="27481" y="3262335"/>
        <a:ext cx="1277634" cy="834448"/>
      </dsp:txXfrm>
    </dsp:sp>
    <dsp:sp modelId="{72CBE2B3-D899-424A-812B-7B9A78E6CC32}">
      <dsp:nvSpPr>
        <dsp:cNvPr id="0" name=""/>
        <dsp:cNvSpPr/>
      </dsp:nvSpPr>
      <dsp:spPr>
        <a:xfrm>
          <a:off x="2347013" y="2881825"/>
          <a:ext cx="91440" cy="354548"/>
        </a:xfrm>
        <a:custGeom>
          <a:avLst/>
          <a:gdLst/>
          <a:ahLst/>
          <a:cxnLst/>
          <a:rect l="0" t="0" r="0" b="0"/>
          <a:pathLst>
            <a:path>
              <a:moveTo>
                <a:pt x="45720" y="0"/>
              </a:moveTo>
              <a:lnTo>
                <a:pt x="45720" y="177274"/>
              </a:lnTo>
              <a:lnTo>
                <a:pt x="47707" y="177274"/>
              </a:lnTo>
              <a:lnTo>
                <a:pt x="47707" y="35454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1729943" y="3236374"/>
          <a:ext cx="1329556" cy="886370"/>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Row Mode</a:t>
          </a:r>
        </a:p>
      </dsp:txBody>
      <dsp:txXfrm>
        <a:off x="1755904" y="3262335"/>
        <a:ext cx="1277634" cy="834448"/>
      </dsp:txXfrm>
    </dsp:sp>
    <dsp:sp modelId="{A8D469E3-D14D-4CB9-A0D2-EC7B1E91369D}">
      <dsp:nvSpPr>
        <dsp:cNvPr id="0" name=""/>
        <dsp:cNvSpPr/>
      </dsp:nvSpPr>
      <dsp:spPr>
        <a:xfrm>
          <a:off x="2392733" y="2881825"/>
          <a:ext cx="1728422" cy="354548"/>
        </a:xfrm>
        <a:custGeom>
          <a:avLst/>
          <a:gdLst/>
          <a:ahLst/>
          <a:cxnLst/>
          <a:rect l="0" t="0" r="0" b="0"/>
          <a:pathLst>
            <a:path>
              <a:moveTo>
                <a:pt x="0" y="0"/>
              </a:moveTo>
              <a:lnTo>
                <a:pt x="0" y="177274"/>
              </a:lnTo>
              <a:lnTo>
                <a:pt x="1728422" y="177274"/>
              </a:lnTo>
              <a:lnTo>
                <a:pt x="1728422" y="354548"/>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64277E-5946-47D2-93A4-B2AF5F7E5C36}">
      <dsp:nvSpPr>
        <dsp:cNvPr id="0" name=""/>
        <dsp:cNvSpPr/>
      </dsp:nvSpPr>
      <dsp:spPr>
        <a:xfrm>
          <a:off x="3458365" y="3236374"/>
          <a:ext cx="1325580" cy="886370"/>
        </a:xfrm>
        <a:prstGeom prst="roundRect">
          <a:avLst>
            <a:gd name="adj" fmla="val 10000"/>
          </a:avLst>
        </a:prstGeom>
        <a:solidFill>
          <a:schemeClr val="tx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Feedback Persistence</a:t>
          </a:r>
        </a:p>
      </dsp:txBody>
      <dsp:txXfrm>
        <a:off x="3484326" y="3262335"/>
        <a:ext cx="1273658" cy="8344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791E11-A6A1-460D-A71E-1F9A97E33366}">
      <dsp:nvSpPr>
        <dsp:cNvPr id="0" name=""/>
        <dsp:cNvSpPr/>
      </dsp:nvSpPr>
      <dsp:spPr>
        <a:xfrm>
          <a:off x="0" y="21286"/>
          <a:ext cx="6445599" cy="11793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Query plan estimates how much memory is needed to store rows during join and sort operations. </a:t>
          </a:r>
        </a:p>
      </dsp:txBody>
      <dsp:txXfrm>
        <a:off x="57572" y="78858"/>
        <a:ext cx="6330455" cy="1064216"/>
      </dsp:txXfrm>
    </dsp:sp>
    <dsp:sp modelId="{83B08AA8-5BFA-4E43-8CA0-5F94DBD06379}">
      <dsp:nvSpPr>
        <dsp:cNvPr id="0" name=""/>
        <dsp:cNvSpPr/>
      </dsp:nvSpPr>
      <dsp:spPr>
        <a:xfrm>
          <a:off x="0" y="1382086"/>
          <a:ext cx="6445599" cy="11793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Too much memory allocation may impact performance of other operations. </a:t>
          </a:r>
        </a:p>
      </dsp:txBody>
      <dsp:txXfrm>
        <a:off x="57572" y="1439658"/>
        <a:ext cx="6330455" cy="1064216"/>
      </dsp:txXfrm>
    </dsp:sp>
    <dsp:sp modelId="{C5D43FFA-C0E2-465F-A341-261A3160D50D}">
      <dsp:nvSpPr>
        <dsp:cNvPr id="0" name=""/>
        <dsp:cNvSpPr/>
      </dsp:nvSpPr>
      <dsp:spPr>
        <a:xfrm>
          <a:off x="0" y="2742886"/>
          <a:ext cx="6445599" cy="11793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Not enough memory will cause a spill over to disk.</a:t>
          </a:r>
        </a:p>
      </dsp:txBody>
      <dsp:txXfrm>
        <a:off x="57572" y="2800458"/>
        <a:ext cx="6330455" cy="1064216"/>
      </dsp:txXfrm>
    </dsp:sp>
    <dsp:sp modelId="{253B71FA-49D7-424D-AF63-79D8B460EAB7}">
      <dsp:nvSpPr>
        <dsp:cNvPr id="0" name=""/>
        <dsp:cNvSpPr/>
      </dsp:nvSpPr>
      <dsp:spPr>
        <a:xfrm>
          <a:off x="0" y="4103687"/>
          <a:ext cx="6445599" cy="117936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This feature recalculates memory on first execution and updates the cached plan.</a:t>
          </a:r>
        </a:p>
      </dsp:txBody>
      <dsp:txXfrm>
        <a:off x="57572" y="4161259"/>
        <a:ext cx="6330455" cy="106421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48D2CF-C3B8-48C4-8FA0-8E7CB44BB97D}">
      <dsp:nvSpPr>
        <dsp:cNvPr id="0" name=""/>
        <dsp:cNvSpPr/>
      </dsp:nvSpPr>
      <dsp:spPr>
        <a:xfrm>
          <a:off x="119914" y="1"/>
          <a:ext cx="2318344" cy="1545562"/>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Memory Grant Feedback (Batch Mode)</a:t>
          </a:r>
        </a:p>
      </dsp:txBody>
      <dsp:txXfrm>
        <a:off x="165182" y="45269"/>
        <a:ext cx="2227808" cy="145502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0A647-2631-4887-AD37-8EF8357E972F}">
      <dsp:nvSpPr>
        <dsp:cNvPr id="0" name=""/>
        <dsp:cNvSpPr/>
      </dsp:nvSpPr>
      <dsp:spPr>
        <a:xfrm>
          <a:off x="2395738" y="371170"/>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Adaptive Query Processing</a:t>
          </a:r>
          <a:endParaRPr lang="en-US" sz="2100" kern="1200" dirty="0"/>
        </a:p>
      </dsp:txBody>
      <dsp:txXfrm>
        <a:off x="2431675" y="407107"/>
        <a:ext cx="1768612" cy="1155117"/>
      </dsp:txXfrm>
    </dsp:sp>
    <dsp:sp modelId="{9B0BC5A7-6A70-41C3-871D-416E6CE7FB15}">
      <dsp:nvSpPr>
        <dsp:cNvPr id="0" name=""/>
        <dsp:cNvSpPr/>
      </dsp:nvSpPr>
      <dsp:spPr>
        <a:xfrm>
          <a:off x="923349" y="1598161"/>
          <a:ext cx="2392633" cy="490796"/>
        </a:xfrm>
        <a:custGeom>
          <a:avLst/>
          <a:gdLst/>
          <a:ahLst/>
          <a:cxnLst/>
          <a:rect l="0" t="0" r="0" b="0"/>
          <a:pathLst>
            <a:path>
              <a:moveTo>
                <a:pt x="2392633" y="0"/>
              </a:moveTo>
              <a:lnTo>
                <a:pt x="2392633" y="245398"/>
              </a:lnTo>
              <a:lnTo>
                <a:pt x="0" y="245398"/>
              </a:lnTo>
              <a:lnTo>
                <a:pt x="0" y="49079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A26B365E-E5E1-416D-9FD8-97105F38CB63}">
      <dsp:nvSpPr>
        <dsp:cNvPr id="0" name=""/>
        <dsp:cNvSpPr/>
      </dsp:nvSpPr>
      <dsp:spPr>
        <a:xfrm>
          <a:off x="3105" y="2088958"/>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daptive Joins</a:t>
          </a:r>
        </a:p>
      </dsp:txBody>
      <dsp:txXfrm>
        <a:off x="39042" y="2124895"/>
        <a:ext cx="1768612" cy="1155117"/>
      </dsp:txXfrm>
    </dsp:sp>
    <dsp:sp modelId="{52433208-80E6-4924-B192-66BA710CE757}">
      <dsp:nvSpPr>
        <dsp:cNvPr id="0" name=""/>
        <dsp:cNvSpPr/>
      </dsp:nvSpPr>
      <dsp:spPr>
        <a:xfrm>
          <a:off x="3270262" y="1598161"/>
          <a:ext cx="91440" cy="490796"/>
        </a:xfrm>
        <a:custGeom>
          <a:avLst/>
          <a:gdLst/>
          <a:ahLst/>
          <a:cxnLst/>
          <a:rect l="0" t="0" r="0" b="0"/>
          <a:pathLst>
            <a:path>
              <a:moveTo>
                <a:pt x="45720" y="0"/>
              </a:moveTo>
              <a:lnTo>
                <a:pt x="45720" y="49079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4399AFE-2603-47B7-BCBC-A239B44C86F5}">
      <dsp:nvSpPr>
        <dsp:cNvPr id="0" name=""/>
        <dsp:cNvSpPr/>
      </dsp:nvSpPr>
      <dsp:spPr>
        <a:xfrm>
          <a:off x="2395738" y="2088958"/>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Interleaved Execution</a:t>
          </a:r>
        </a:p>
      </dsp:txBody>
      <dsp:txXfrm>
        <a:off x="2431675" y="2124895"/>
        <a:ext cx="1768612" cy="1155117"/>
      </dsp:txXfrm>
    </dsp:sp>
    <dsp:sp modelId="{9F73EFAA-AC05-4F91-9BA5-6E511FAF9278}">
      <dsp:nvSpPr>
        <dsp:cNvPr id="0" name=""/>
        <dsp:cNvSpPr/>
      </dsp:nvSpPr>
      <dsp:spPr>
        <a:xfrm>
          <a:off x="3315982" y="1598161"/>
          <a:ext cx="2392633" cy="490796"/>
        </a:xfrm>
        <a:custGeom>
          <a:avLst/>
          <a:gdLst/>
          <a:ahLst/>
          <a:cxnLst/>
          <a:rect l="0" t="0" r="0" b="0"/>
          <a:pathLst>
            <a:path>
              <a:moveTo>
                <a:pt x="0" y="0"/>
              </a:moveTo>
              <a:lnTo>
                <a:pt x="0" y="245398"/>
              </a:lnTo>
              <a:lnTo>
                <a:pt x="2392633" y="245398"/>
              </a:lnTo>
              <a:lnTo>
                <a:pt x="2392633" y="490796"/>
              </a:lnTo>
            </a:path>
          </a:pathLst>
        </a:cu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819E298-A51F-4C6C-8730-AFE2F6D20F30}">
      <dsp:nvSpPr>
        <dsp:cNvPr id="0" name=""/>
        <dsp:cNvSpPr/>
      </dsp:nvSpPr>
      <dsp:spPr>
        <a:xfrm>
          <a:off x="4788371" y="2088958"/>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emory Grant Feedback</a:t>
          </a:r>
        </a:p>
      </dsp:txBody>
      <dsp:txXfrm>
        <a:off x="4824308" y="2124895"/>
        <a:ext cx="1768612" cy="1155117"/>
      </dsp:txXfrm>
    </dsp:sp>
    <dsp:sp modelId="{5690923D-9059-4138-8ACF-90D405019F80}">
      <dsp:nvSpPr>
        <dsp:cNvPr id="0" name=""/>
        <dsp:cNvSpPr/>
      </dsp:nvSpPr>
      <dsp:spPr>
        <a:xfrm>
          <a:off x="4512298" y="3315949"/>
          <a:ext cx="1196316" cy="490796"/>
        </a:xfrm>
        <a:custGeom>
          <a:avLst/>
          <a:gdLst/>
          <a:ahLst/>
          <a:cxnLst/>
          <a:rect l="0" t="0" r="0" b="0"/>
          <a:pathLst>
            <a:path>
              <a:moveTo>
                <a:pt x="1196316" y="0"/>
              </a:moveTo>
              <a:lnTo>
                <a:pt x="1196316" y="245398"/>
              </a:lnTo>
              <a:lnTo>
                <a:pt x="0" y="245398"/>
              </a:lnTo>
              <a:lnTo>
                <a:pt x="0" y="49079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F552DA2-FC5B-40D6-B601-DCA076FAF8FB}">
      <dsp:nvSpPr>
        <dsp:cNvPr id="0" name=""/>
        <dsp:cNvSpPr/>
      </dsp:nvSpPr>
      <dsp:spPr>
        <a:xfrm>
          <a:off x="3592055" y="3806746"/>
          <a:ext cx="1840486" cy="1226991"/>
        </a:xfrm>
        <a:prstGeom prst="roundRect">
          <a:avLst>
            <a:gd name="adj" fmla="val 10000"/>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Batch Mode</a:t>
          </a:r>
        </a:p>
      </dsp:txBody>
      <dsp:txXfrm>
        <a:off x="3627992" y="3842683"/>
        <a:ext cx="1768612" cy="1155117"/>
      </dsp:txXfrm>
    </dsp:sp>
    <dsp:sp modelId="{72CBE2B3-D899-424A-812B-7B9A78E6CC32}">
      <dsp:nvSpPr>
        <dsp:cNvPr id="0" name=""/>
        <dsp:cNvSpPr/>
      </dsp:nvSpPr>
      <dsp:spPr>
        <a:xfrm>
          <a:off x="5708615" y="3315949"/>
          <a:ext cx="1196316" cy="490796"/>
        </a:xfrm>
        <a:custGeom>
          <a:avLst/>
          <a:gdLst/>
          <a:ahLst/>
          <a:cxnLst/>
          <a:rect l="0" t="0" r="0" b="0"/>
          <a:pathLst>
            <a:path>
              <a:moveTo>
                <a:pt x="0" y="0"/>
              </a:moveTo>
              <a:lnTo>
                <a:pt x="0" y="245398"/>
              </a:lnTo>
              <a:lnTo>
                <a:pt x="1196316" y="245398"/>
              </a:lnTo>
              <a:lnTo>
                <a:pt x="1196316" y="490796"/>
              </a:lnTo>
            </a:path>
          </a:pathLst>
        </a:custGeom>
        <a:noFill/>
        <a:ln w="25400" cap="flat" cmpd="sng" algn="ctr">
          <a:solidFill>
            <a:schemeClr val="accent5">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082D06F-7A6B-4DD7-92D7-FEC51944094C}">
      <dsp:nvSpPr>
        <dsp:cNvPr id="0" name=""/>
        <dsp:cNvSpPr/>
      </dsp:nvSpPr>
      <dsp:spPr>
        <a:xfrm>
          <a:off x="5984688" y="3806746"/>
          <a:ext cx="1840486" cy="1226991"/>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Row Mode</a:t>
          </a:r>
        </a:p>
      </dsp:txBody>
      <dsp:txXfrm>
        <a:off x="6020625" y="3842683"/>
        <a:ext cx="1768612" cy="115511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6F9DF0-398B-4E24-817D-DCB130C0B943}">
      <dsp:nvSpPr>
        <dsp:cNvPr id="0" name=""/>
        <dsp:cNvSpPr/>
      </dsp:nvSpPr>
      <dsp:spPr>
        <a:xfrm>
          <a:off x="0" y="1429"/>
          <a:ext cx="2665039" cy="1776693"/>
        </a:xfrm>
        <a:prstGeom prst="roundRect">
          <a:avLst>
            <a:gd name="adj" fmla="val 10000"/>
          </a:avLst>
        </a:prstGeom>
        <a:solidFill>
          <a:schemeClr val="accent6">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Memory Grant Feedback (Row Mode)</a:t>
          </a:r>
        </a:p>
      </dsp:txBody>
      <dsp:txXfrm>
        <a:off x="52038" y="53467"/>
        <a:ext cx="2560963" cy="167261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8/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47306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3602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610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2052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334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867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42069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 8:00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906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446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5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17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4914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6544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5575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6.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516877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97511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956297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2629700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8"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3"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7" y="4838790"/>
            <a:ext cx="9401560" cy="945435"/>
          </a:xfrm>
          <a:noFill/>
        </p:spPr>
        <p:txBody>
          <a:bodyPr lIns="0" tIns="0" rIns="0" bIns="0">
            <a:noAutofit/>
          </a:bodyPr>
          <a:lstStyle>
            <a:lvl1pPr marL="0" indent="0">
              <a:lnSpc>
                <a:spcPct val="100000"/>
              </a:lnSpc>
              <a:spcBef>
                <a:spcPts val="0"/>
              </a:spcBef>
              <a:buNone/>
              <a:defRPr sz="1567"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426233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6" y="1202872"/>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233"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5370381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31861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730078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Azure</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97823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55259825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3"/>
            <a:ext cx="11339774" cy="1223171"/>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5613689"/>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809331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82739820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6"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2"/>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981309868"/>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5" y="2135538"/>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8"/>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4"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5" y="4927922"/>
            <a:ext cx="3630521"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4" y="4927922"/>
            <a:ext cx="363052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46677409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2"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7603365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8645075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6"/>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7" b="1">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307666"/>
          </a:xfrm>
        </p:spPr>
        <p:txBody>
          <a:bodyPr lIns="0" tIns="0" rIns="0" bIns="0"/>
          <a:lstStyle>
            <a:lvl1pPr marL="0" indent="0">
              <a:lnSpc>
                <a:spcPct val="100000"/>
              </a:lnSpc>
              <a:spcBef>
                <a:spcPts val="0"/>
              </a:spcBef>
              <a:spcAft>
                <a:spcPts val="784"/>
              </a:spcAft>
              <a:buNone/>
              <a:defRPr sz="1567">
                <a:solidFill>
                  <a:schemeClr val="tx2"/>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01361129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4050125"/>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63446089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7055524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8606987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8/11/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32082194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7095854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289225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tx2"/>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3765611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91725470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3898994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539996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2693155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0730338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86243076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black">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4216999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35825012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blue">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0125408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52874070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896036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5" y="437137"/>
            <a:ext cx="896425" cy="190218"/>
          </a:xfrm>
          <a:prstGeom prst="rect">
            <a:avLst/>
          </a:prstGeom>
        </p:spPr>
      </p:pic>
    </p:spTree>
    <p:extLst>
      <p:ext uri="{BB962C8B-B14F-4D97-AF65-F5344CB8AC3E}">
        <p14:creationId xmlns:p14="http://schemas.microsoft.com/office/powerpoint/2010/main" val="328313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3"/>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2" y="437140"/>
            <a:ext cx="896425" cy="191140"/>
          </a:xfrm>
          <a:prstGeom prst="rect">
            <a:avLst/>
          </a:prstGeom>
        </p:spPr>
      </p:pic>
    </p:spTree>
    <p:extLst>
      <p:ext uri="{BB962C8B-B14F-4D97-AF65-F5344CB8AC3E}">
        <p14:creationId xmlns:p14="http://schemas.microsoft.com/office/powerpoint/2010/main" val="38028870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81028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hank you blu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188840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lvl1pPr>
              <a:defRPr>
                <a:gradFill>
                  <a:gsLst>
                    <a:gs pos="1250">
                      <a:schemeClr val="tx1"/>
                    </a:gs>
                    <a:gs pos="100000">
                      <a:schemeClr val="tx1"/>
                    </a:gs>
                  </a:gsLst>
                  <a:lin ang="5400000" scaled="0"/>
                </a:gradFil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D1E7E43-E034-4449-B6D2-04DAB4D86A0A}"/>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5523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600">
                <a:solidFill>
                  <a:schemeClr val="tx2"/>
                </a:solidFill>
              </a:defRPr>
            </a:lvl1pPr>
          </a:lstStyle>
          <a:p>
            <a:r>
              <a:rPr lang="en-US"/>
              <a:t>Title</a:t>
            </a:r>
          </a:p>
        </p:txBody>
      </p:sp>
    </p:spTree>
    <p:extLst>
      <p:ext uri="{BB962C8B-B14F-4D97-AF65-F5344CB8AC3E}">
        <p14:creationId xmlns:p14="http://schemas.microsoft.com/office/powerpoint/2010/main" val="137690822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159719502"/>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80496171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3"/>
            <a:ext cx="11339774" cy="830997"/>
          </a:xfrm>
        </p:spPr>
        <p:txBody>
          <a:bodyPr wrap="square" lIns="0" tIns="0" rIns="0" bIns="0">
            <a:spAutoFit/>
          </a:bodyPr>
          <a:lstStyle>
            <a:lvl1pPr marL="0" indent="0">
              <a:lnSpc>
                <a:spcPct val="100000"/>
              </a:lnSpc>
              <a:spcBef>
                <a:spcPts val="0"/>
              </a:spcBef>
              <a:spcAft>
                <a:spcPts val="882"/>
              </a:spcAft>
              <a:buNone/>
              <a:defRPr sz="1800" b="0" i="0">
                <a:solidFill>
                  <a:srgbClr val="000000"/>
                </a:solidFill>
                <a:latin typeface="+mn-lt"/>
              </a:defRPr>
            </a:lvl1pPr>
            <a:lvl2pPr marL="224054" indent="0">
              <a:lnSpc>
                <a:spcPct val="100000"/>
              </a:lnSpc>
              <a:spcBef>
                <a:spcPts val="0"/>
              </a:spcBef>
              <a:spcAft>
                <a:spcPts val="1371"/>
              </a:spcAft>
              <a:buNone/>
              <a:defRPr sz="1765">
                <a:solidFill>
                  <a:srgbClr val="000000"/>
                </a:solidFill>
              </a:defRPr>
            </a:lvl2pPr>
            <a:lvl3pPr marL="448107" indent="0">
              <a:lnSpc>
                <a:spcPct val="100000"/>
              </a:lnSpc>
              <a:spcBef>
                <a:spcPts val="0"/>
              </a:spcBef>
              <a:spcAft>
                <a:spcPts val="1371"/>
              </a:spcAft>
              <a:buNone/>
              <a:defRPr sz="1371">
                <a:solidFill>
                  <a:srgbClr val="000000"/>
                </a:solidFill>
              </a:defRPr>
            </a:lvl3pPr>
            <a:lvl4pPr marL="672161" indent="0">
              <a:spcBef>
                <a:spcPts val="0"/>
              </a:spcBef>
              <a:spcAft>
                <a:spcPts val="1273"/>
              </a:spcAft>
              <a:buNone/>
              <a:defRPr sz="1961"/>
            </a:lvl4pPr>
            <a:lvl5pPr marL="896214"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6"/>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5" y="2313289"/>
            <a:ext cx="5555966" cy="2602491"/>
          </a:xfrm>
        </p:spPr>
        <p:txBody>
          <a:bodyPr lIns="0" tIns="0" rIns="0" bIns="0">
            <a:noAutofit/>
          </a:bodyPr>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3" y="2313290"/>
            <a:ext cx="5547873" cy="2675091"/>
          </a:xfrm>
        </p:spPr>
        <p:txBody>
          <a:bodyPr lIns="0" tIns="0" rIns="0" bIns="0"/>
          <a:lstStyle>
            <a:lvl1pPr marL="0" indent="0">
              <a:lnSpc>
                <a:spcPct val="100000"/>
              </a:lnSpc>
              <a:spcBef>
                <a:spcPts val="0"/>
              </a:spcBef>
              <a:spcAft>
                <a:spcPts val="686"/>
              </a:spcAft>
              <a:buNone/>
              <a:defRPr sz="1400" b="1">
                <a:solidFill>
                  <a:schemeClr val="tx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217560020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851B-53DD-42DE-B98F-EF9833BA2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51F285-23AA-4DB8-8E36-C7A353394BB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06130-252F-4873-AC60-0DEC35F31A95}"/>
              </a:ext>
            </a:extLst>
          </p:cNvPr>
          <p:cNvSpPr>
            <a:spLocks noGrp="1"/>
          </p:cNvSpPr>
          <p:nvPr>
            <p:ph type="dt" sz="half" idx="10"/>
          </p:nvPr>
        </p:nvSpPr>
        <p:spPr/>
        <p:txBody>
          <a:bodyPr/>
          <a:lstStyle/>
          <a:p>
            <a:fld id="{A8085009-E053-4CFC-B70B-71D82C275186}" type="datetimeFigureOut">
              <a:rPr lang="en-US" smtClean="0"/>
              <a:t>8/11/2022</a:t>
            </a:fld>
            <a:endParaRPr lang="en-US"/>
          </a:p>
        </p:txBody>
      </p:sp>
      <p:sp>
        <p:nvSpPr>
          <p:cNvPr id="5" name="Footer Placeholder 4">
            <a:extLst>
              <a:ext uri="{FF2B5EF4-FFF2-40B4-BE49-F238E27FC236}">
                <a16:creationId xmlns:a16="http://schemas.microsoft.com/office/drawing/2014/main" id="{5BBA483F-3C5E-46A7-A561-676168E035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77CB13-327A-4D39-9F62-1B27D551CDEC}"/>
              </a:ext>
            </a:extLst>
          </p:cNvPr>
          <p:cNvSpPr>
            <a:spLocks noGrp="1"/>
          </p:cNvSpPr>
          <p:nvPr>
            <p:ph type="sldNum" sz="quarter" idx="12"/>
          </p:nvPr>
        </p:nvSpPr>
        <p:spPr/>
        <p:txBody>
          <a:bodyPr/>
          <a:lstStyle/>
          <a:p>
            <a:fld id="{1A311F4F-3675-466E-9388-734BB41532D3}" type="slidenum">
              <a:rPr lang="en-US" smtClean="0"/>
              <a:t>‹#›</a:t>
            </a:fld>
            <a:endParaRPr lang="en-US"/>
          </a:p>
        </p:txBody>
      </p:sp>
    </p:spTree>
    <p:extLst>
      <p:ext uri="{BB962C8B-B14F-4D97-AF65-F5344CB8AC3E}">
        <p14:creationId xmlns:p14="http://schemas.microsoft.com/office/powerpoint/2010/main" val="40456357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41394"/>
            <a:ext cx="5555965" cy="1084399"/>
          </a:xfrm>
        </p:spPr>
        <p:txBody>
          <a:bodyPr wrap="square" lIns="0" tIns="0" rIns="0" bIns="0">
            <a:spAutoFit/>
          </a:bodyPr>
          <a:lstStyle>
            <a:lvl1pPr marL="268916" indent="-268916">
              <a:lnSpc>
                <a:spcPct val="100000"/>
              </a:lnSpc>
              <a:spcBef>
                <a:spcPts val="0"/>
              </a:spcBef>
              <a:spcAft>
                <a:spcPts val="1274"/>
              </a:spcAft>
              <a:buClr>
                <a:srgbClr val="000000"/>
              </a:buClr>
              <a:buSzPct val="77000"/>
              <a:buFont typeface="Arial" panose="020B0604020202020204" pitchFamily="34" charset="0"/>
              <a:buChar char="•"/>
              <a:defRPr sz="2000"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600">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600">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DB85004-280F-4799-80F3-A010178C281A}"/>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E3B1789B-555D-46D7-952B-62C662F79DCE}"/>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9718466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966265"/>
            <a:ext cx="11339774" cy="332399"/>
          </a:xfrm>
        </p:spPr>
        <p:txBody>
          <a:bodyPr wrap="square" lIns="0" tIns="0" rIns="0" bIns="0">
            <a:spAutoFit/>
          </a:bodyPr>
          <a:lstStyle>
            <a:lvl1pPr marL="0" indent="0">
              <a:lnSpc>
                <a:spcPct val="90000"/>
              </a:lnSpc>
              <a:spcBef>
                <a:spcPts val="0"/>
              </a:spcBef>
              <a:spcAft>
                <a:spcPts val="1274"/>
              </a:spcAft>
              <a:buNone/>
              <a:defRPr sz="2400" b="0" i="0">
                <a:solidFill>
                  <a:schemeClr val="tx2"/>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2" name="Title 1">
            <a:extLst>
              <a:ext uri="{FF2B5EF4-FFF2-40B4-BE49-F238E27FC236}">
                <a16:creationId xmlns:a16="http://schemas.microsoft.com/office/drawing/2014/main" id="{E472D8AF-1FC5-4847-9E7D-920E106072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592213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BFBCC-E6E0-4D07-8D98-A5A61A66DEC4}"/>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013765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50370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56802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083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6921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186317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63939503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136164751"/>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4684372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28407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860690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7618931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461445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0983475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2" y="3962402"/>
            <a:ext cx="5943600" cy="307777"/>
          </a:xfrm>
          <a:noFill/>
        </p:spPr>
        <p:txBody>
          <a:bodyPr wrap="square" lIns="0" tIns="0" rIns="0" bIns="0">
            <a:spAutoFit/>
          </a:bodyPr>
          <a:lstStyle>
            <a:lvl1pPr marL="0" indent="0">
              <a:spcBef>
                <a:spcPts val="0"/>
              </a:spcBef>
              <a:buNone/>
              <a:defRPr sz="1999"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8" y="585790"/>
            <a:ext cx="2691631" cy="276999"/>
          </a:xfrm>
          <a:solidFill>
            <a:srgbClr val="E6E6E6">
              <a:alpha val="75000"/>
            </a:srgbClr>
          </a:solidFill>
        </p:spPr>
        <p:txBody>
          <a:bodyPr/>
          <a:lstStyle>
            <a:lvl1pPr marL="0" marR="0" indent="0" algn="r" defTabSz="93208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799"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21572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1916"/>
          </a:xfrm>
        </p:spPr>
        <p:txBody>
          <a:bodyPr wrap="square">
            <a:spAutoFit/>
          </a:bodyPr>
          <a:lstStyle>
            <a:lvl1pPr marL="0" indent="0">
              <a:buNone/>
              <a:defRPr/>
            </a:lvl1pPr>
            <a:lvl2pPr marL="228440" indent="0">
              <a:buNone/>
              <a:defRPr/>
            </a:lvl2pPr>
            <a:lvl3pPr marL="456880" indent="0">
              <a:buNone/>
              <a:defRPr/>
            </a:lvl3pPr>
            <a:lvl4pPr marL="685320" indent="0">
              <a:buNone/>
              <a:defRPr/>
            </a:lvl4pPr>
            <a:lvl5pPr marL="91376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6653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spcBef>
                <a:spcPts val="1199"/>
              </a:spcBef>
              <a:defRPr/>
            </a:lvl1pPr>
          </a:lstStyle>
          <a:p>
            <a:r>
              <a:rPr lang="en-US"/>
              <a:t>Click to edit Master title style</a:t>
            </a:r>
          </a:p>
        </p:txBody>
      </p:sp>
      <p:sp>
        <p:nvSpPr>
          <p:cNvPr id="3" name="Text Placeholder 2"/>
          <p:cNvSpPr>
            <a:spLocks noGrp="1"/>
          </p:cNvSpPr>
          <p:nvPr>
            <p:ph type="body" sz="quarter" idx="10"/>
          </p:nvPr>
        </p:nvSpPr>
        <p:spPr>
          <a:xfrm>
            <a:off x="584201" y="1435499"/>
            <a:ext cx="11018520" cy="1519903"/>
          </a:xfrm>
        </p:spPr>
        <p:txBody>
          <a:bodyPr/>
          <a:lstStyle>
            <a:lvl1pPr>
              <a:spcBef>
                <a:spcPts val="999"/>
              </a:spcBef>
              <a:defRPr sz="2200">
                <a:latin typeface="+mn-l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05028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C72D31-A613-4575-8C30-1B5C8526389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C461A2B3-F991-45BD-8BA7-FA0CE24140A3}"/>
              </a:ext>
            </a:extLst>
          </p:cNvPr>
          <p:cNvSpPr>
            <a:spLocks noGrp="1"/>
          </p:cNvSpPr>
          <p:nvPr>
            <p:ph type="body" sz="quarter" idx="10"/>
          </p:nvPr>
        </p:nvSpPr>
        <p:spPr>
          <a:xfrm>
            <a:off x="588263" y="1044575"/>
            <a:ext cx="11018520" cy="307777"/>
          </a:xfrm>
        </p:spPr>
        <p:txBody>
          <a:bodyPr wrap="square" lIns="0" tIns="0" rIns="0" bIns="0">
            <a:spAutoFit/>
          </a:bodyPr>
          <a:lstStyle>
            <a:lvl1pPr marL="0" indent="0">
              <a:buNone/>
              <a:defRPr lang="en-US" sz="2000" dirty="0" smtClean="0">
                <a:solidFill>
                  <a:schemeClr val="accent1"/>
                </a:solidFill>
                <a:latin typeface="+mj-lt"/>
                <a:cs typeface="+mn-cs"/>
              </a:defRPr>
            </a:lvl1pPr>
          </a:lstStyle>
          <a:p>
            <a:pPr marL="0" lvl="0" defTabSz="914367"/>
            <a:r>
              <a:rPr lang="en-US"/>
              <a:t>Click to edit Master text styles</a:t>
            </a:r>
          </a:p>
        </p:txBody>
      </p:sp>
    </p:spTree>
    <p:extLst>
      <p:ext uri="{BB962C8B-B14F-4D97-AF65-F5344CB8AC3E}">
        <p14:creationId xmlns:p14="http://schemas.microsoft.com/office/powerpoint/2010/main" val="208901904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latin typeface="Segoe UI Semilight" panose="020B0402040204020203" pitchFamily="34" charset="0"/>
                <a:cs typeface="Segoe UI Semilight" panose="020B0402040204020203" pitchFamily="34" charset="0"/>
              </a:defRPr>
            </a:lvl1pPr>
            <a:lvl2pPr marL="255409" indent="0">
              <a:buFont typeface="Wingdings" panose="05000000000000000000" pitchFamily="2" charset="2"/>
              <a:buNone/>
              <a:defRPr sz="1999" b="0"/>
            </a:lvl2pPr>
            <a:lvl3pPr marL="450534" indent="0">
              <a:buFont typeface="Wingdings" panose="05000000000000000000" pitchFamily="2" charset="2"/>
              <a:buNone/>
              <a:tabLst/>
              <a:defRPr sz="1599" b="0"/>
            </a:lvl3pPr>
            <a:lvl4pPr marL="652005" indent="0">
              <a:buFont typeface="Wingdings" panose="05000000000000000000" pitchFamily="2" charset="2"/>
              <a:buNone/>
              <a:defRPr sz="1399" b="0"/>
            </a:lvl4pPr>
            <a:lvl5pPr marL="853477"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798" b="0">
                <a:latin typeface="Segoe UI Semilight" panose="020B0402040204020203" pitchFamily="34" charset="0"/>
                <a:cs typeface="Segoe UI Semilight" panose="020B0402040204020203" pitchFamily="34" charset="0"/>
              </a:defRPr>
            </a:lvl1pPr>
            <a:lvl2pPr marL="255409" indent="0">
              <a:buFont typeface="Wingdings" panose="05000000000000000000" pitchFamily="2" charset="2"/>
              <a:buNone/>
              <a:defRPr sz="1999" b="0"/>
            </a:lvl2pPr>
            <a:lvl3pPr marL="450534" indent="0">
              <a:buFont typeface="Wingdings" panose="05000000000000000000" pitchFamily="2" charset="2"/>
              <a:buNone/>
              <a:tabLst/>
              <a:defRPr sz="1599" b="0"/>
            </a:lvl3pPr>
            <a:lvl4pPr marL="652005" indent="0">
              <a:buFont typeface="Wingdings" panose="05000000000000000000" pitchFamily="2" charset="2"/>
              <a:buNone/>
              <a:defRPr sz="1399" b="0"/>
            </a:lvl4pPr>
            <a:lvl5pPr marL="853477" indent="0">
              <a:buFont typeface="Wingdings" panose="05000000000000000000" pitchFamily="2" charset="2"/>
              <a:buNone/>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118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1"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613" indent="-231613">
              <a:spcBef>
                <a:spcPts val="1223"/>
              </a:spcBef>
              <a:buClr>
                <a:schemeClr val="tx1"/>
              </a:buClr>
              <a:buFont typeface="Wingdings" panose="05000000000000000000" pitchFamily="2" charset="2"/>
              <a:buChar char=""/>
              <a:defRPr sz="2798" b="0">
                <a:latin typeface="Segoe UI Semilight" panose="020B0402040204020203" pitchFamily="34" charset="0"/>
                <a:cs typeface="Segoe UI Semilight" panose="020B0402040204020203" pitchFamily="34" charset="0"/>
              </a:defRPr>
            </a:lvl1pPr>
            <a:lvl2pPr marL="426739" indent="-171330">
              <a:buFont typeface="Wingdings" panose="05000000000000000000" pitchFamily="2" charset="2"/>
              <a:buChar char=""/>
              <a:defRPr sz="1999" b="0"/>
            </a:lvl2pPr>
            <a:lvl3pPr marL="639315" indent="-188781">
              <a:buFont typeface="Wingdings" panose="05000000000000000000" pitchFamily="2" charset="2"/>
              <a:buChar char=""/>
              <a:tabLst/>
              <a:defRPr sz="1599" b="0"/>
            </a:lvl3pPr>
            <a:lvl4pPr marL="828095" indent="-176090">
              <a:buFont typeface="Wingdings" panose="05000000000000000000" pitchFamily="2" charset="2"/>
              <a:buChar char=""/>
              <a:defRPr sz="1399" b="0"/>
            </a:lvl4pPr>
            <a:lvl5pPr marL="1023221" indent="-169744">
              <a:buFont typeface="Wingdings" panose="05000000000000000000" pitchFamily="2" charset="2"/>
              <a:buChar char=""/>
              <a:tabLst/>
              <a:defRPr sz="1399"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1792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435118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4355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894225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1999"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650608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2457455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329390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63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6312804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2" y="1435100"/>
            <a:ext cx="11018838" cy="16119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2" y="-203944"/>
            <a:ext cx="577457" cy="153760"/>
          </a:xfrm>
          <a:prstGeom prst="rect">
            <a:avLst/>
          </a:prstGeom>
          <a:noFill/>
        </p:spPr>
        <p:txBody>
          <a:bodyPr wrap="none" lIns="0" tIns="0" rIns="0" bIns="0" rtlCol="0">
            <a:spAutoFit/>
          </a:bodyPr>
          <a:lstStyle/>
          <a:p>
            <a:pPr algn="l"/>
            <a:r>
              <a:rPr lang="en-US" sz="999">
                <a:solidFill>
                  <a:srgbClr val="A3A3A3"/>
                </a:solidFill>
              </a:rPr>
              <a:t>ELT layout</a:t>
            </a:r>
          </a:p>
        </p:txBody>
      </p:sp>
    </p:spTree>
    <p:extLst>
      <p:ext uri="{BB962C8B-B14F-4D97-AF65-F5344CB8AC3E}">
        <p14:creationId xmlns:p14="http://schemas.microsoft.com/office/powerpoint/2010/main" val="25450115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8263" y="2271760"/>
            <a:ext cx="4896264" cy="1157240"/>
          </a:xfrm>
        </p:spPr>
        <p:txBody>
          <a:bodyPr wrap="square">
            <a:spAutoFit/>
          </a:bodyPr>
          <a:lstStyle>
            <a:lvl1pPr marL="0" indent="0">
              <a:lnSpc>
                <a:spcPct val="110000"/>
              </a:lnSpc>
              <a:spcBef>
                <a:spcPts val="1800"/>
              </a:spcBef>
              <a:buFont typeface="Arial" panose="020B0604020202020204" pitchFamily="34" charset="0"/>
              <a:buNone/>
              <a:defRPr sz="1600">
                <a:latin typeface="+mn-lt"/>
              </a:defRPr>
            </a:lvl1pPr>
            <a:lvl2pPr marL="228600" indent="0">
              <a:buFont typeface="Arial" panose="020B0604020202020204" pitchFamily="34" charset="0"/>
              <a:buNone/>
              <a:defRPr sz="1400"/>
            </a:lvl2pPr>
            <a:lvl3pPr marL="457200" indent="0">
              <a:buFont typeface="Arial" panose="020B0604020202020204" pitchFamily="34" charset="0"/>
              <a:buNone/>
              <a:defRPr sz="1100"/>
            </a:lvl3pPr>
            <a:lvl4pPr marL="685800" indent="0">
              <a:buFont typeface="Arial" panose="020B0604020202020204" pitchFamily="34" charset="0"/>
              <a:buNone/>
              <a:defRPr sz="1050"/>
            </a:lvl4pPr>
            <a:lvl5pPr marL="914400" indent="0">
              <a:buFont typeface="Arial" panose="020B0604020202020204" pitchFamily="34" charset="0"/>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5EBC9C4-692B-4264-85A6-FAA30AA09ECB}"/>
              </a:ext>
            </a:extLst>
          </p:cNvPr>
          <p:cNvSpPr>
            <a:spLocks noGrp="1"/>
          </p:cNvSpPr>
          <p:nvPr>
            <p:ph type="title"/>
          </p:nvPr>
        </p:nvSpPr>
        <p:spPr>
          <a:xfrm>
            <a:off x="588263" y="457200"/>
            <a:ext cx="4896264" cy="984885"/>
          </a:xfrm>
        </p:spPr>
        <p:txBody>
          <a:bodyPr>
            <a:spAutoFit/>
          </a:bodyPr>
          <a:lstStyle>
            <a:lvl1pPr>
              <a:defRPr sz="3200"/>
            </a:lvl1pPr>
          </a:lstStyle>
          <a:p>
            <a:r>
              <a:rPr lang="en-US"/>
              <a:t>Click to edit Master title style</a:t>
            </a:r>
          </a:p>
        </p:txBody>
      </p:sp>
    </p:spTree>
    <p:extLst>
      <p:ext uri="{BB962C8B-B14F-4D97-AF65-F5344CB8AC3E}">
        <p14:creationId xmlns:p14="http://schemas.microsoft.com/office/powerpoint/2010/main" val="3099670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47855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80" name="Group 79">
            <a:extLst>
              <a:ext uri="{FF2B5EF4-FFF2-40B4-BE49-F238E27FC236}">
                <a16:creationId xmlns:a16="http://schemas.microsoft.com/office/drawing/2014/main" id="{521145ED-15B2-4878-88BA-BD52A6B7015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6B6377E8-C20D-47BA-992C-78572A997980}"/>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3F341476-B728-4E0A-B2F8-6224A7A594D0}"/>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1" name="Freeform: Shape 90">
                <a:extLst>
                  <a:ext uri="{FF2B5EF4-FFF2-40B4-BE49-F238E27FC236}">
                    <a16:creationId xmlns:a16="http://schemas.microsoft.com/office/drawing/2014/main" id="{655D239E-00C3-427B-ADA7-1AC583BA2BFE}"/>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2" name="Freeform: Shape 91">
                <a:extLst>
                  <a:ext uri="{FF2B5EF4-FFF2-40B4-BE49-F238E27FC236}">
                    <a16:creationId xmlns:a16="http://schemas.microsoft.com/office/drawing/2014/main" id="{1932C6DD-9BF9-412C-B311-475A636BF050}"/>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3" name="Freeform: Shape 92">
                <a:extLst>
                  <a:ext uri="{FF2B5EF4-FFF2-40B4-BE49-F238E27FC236}">
                    <a16:creationId xmlns:a16="http://schemas.microsoft.com/office/drawing/2014/main" id="{FE1BBB77-4896-49FA-A7BB-E6425636C87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4" name="Freeform: Shape 93">
                <a:extLst>
                  <a:ext uri="{FF2B5EF4-FFF2-40B4-BE49-F238E27FC236}">
                    <a16:creationId xmlns:a16="http://schemas.microsoft.com/office/drawing/2014/main" id="{C15D4A7F-5951-43E0-B784-91AE08065FE2}"/>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5" name="Freeform: Shape 94">
                <a:extLst>
                  <a:ext uri="{FF2B5EF4-FFF2-40B4-BE49-F238E27FC236}">
                    <a16:creationId xmlns:a16="http://schemas.microsoft.com/office/drawing/2014/main" id="{A4506F70-FD55-4537-9265-9582326DB16F}"/>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6" name="Freeform: Shape 95">
                <a:extLst>
                  <a:ext uri="{FF2B5EF4-FFF2-40B4-BE49-F238E27FC236}">
                    <a16:creationId xmlns:a16="http://schemas.microsoft.com/office/drawing/2014/main" id="{B25C9439-322A-40A0-82D0-F9CDDFF9993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7" name="Freeform: Shape 96">
                <a:extLst>
                  <a:ext uri="{FF2B5EF4-FFF2-40B4-BE49-F238E27FC236}">
                    <a16:creationId xmlns:a16="http://schemas.microsoft.com/office/drawing/2014/main" id="{CB076121-8E6C-4E2C-A02D-B783C6A1FE4D}"/>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8" name="Freeform: Shape 97">
                <a:extLst>
                  <a:ext uri="{FF2B5EF4-FFF2-40B4-BE49-F238E27FC236}">
                    <a16:creationId xmlns:a16="http://schemas.microsoft.com/office/drawing/2014/main" id="{6C982970-DD23-4E38-BCF5-8584D6373C41}"/>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9" name="Freeform: Shape 98">
                <a:extLst>
                  <a:ext uri="{FF2B5EF4-FFF2-40B4-BE49-F238E27FC236}">
                    <a16:creationId xmlns:a16="http://schemas.microsoft.com/office/drawing/2014/main" id="{24A84652-31EB-4B12-A7F6-9AF3F288AA24}"/>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0" name="Freeform: Shape 99">
                <a:extLst>
                  <a:ext uri="{FF2B5EF4-FFF2-40B4-BE49-F238E27FC236}">
                    <a16:creationId xmlns:a16="http://schemas.microsoft.com/office/drawing/2014/main" id="{9FD19A90-52A2-49B2-97D6-CB49D9C5F77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1" name="Freeform: Shape 100">
                <a:extLst>
                  <a:ext uri="{FF2B5EF4-FFF2-40B4-BE49-F238E27FC236}">
                    <a16:creationId xmlns:a16="http://schemas.microsoft.com/office/drawing/2014/main" id="{0BAD7BE1-E615-4471-9A67-34C09C31CEBE}"/>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2" name="Freeform: Shape 101">
                <a:extLst>
                  <a:ext uri="{FF2B5EF4-FFF2-40B4-BE49-F238E27FC236}">
                    <a16:creationId xmlns:a16="http://schemas.microsoft.com/office/drawing/2014/main" id="{4F4EED83-41A8-49F9-9FBC-CC742F5858D5}"/>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3" name="Freeform: Shape 102">
                <a:extLst>
                  <a:ext uri="{FF2B5EF4-FFF2-40B4-BE49-F238E27FC236}">
                    <a16:creationId xmlns:a16="http://schemas.microsoft.com/office/drawing/2014/main" id="{AE3D32E2-E4E9-424E-9F48-CB015D973F08}"/>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4" name="Freeform: Shape 103">
                <a:extLst>
                  <a:ext uri="{FF2B5EF4-FFF2-40B4-BE49-F238E27FC236}">
                    <a16:creationId xmlns:a16="http://schemas.microsoft.com/office/drawing/2014/main" id="{64AD9ECB-18F6-4638-9690-D62A6BEEF13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5" name="Freeform: Shape 104">
                <a:extLst>
                  <a:ext uri="{FF2B5EF4-FFF2-40B4-BE49-F238E27FC236}">
                    <a16:creationId xmlns:a16="http://schemas.microsoft.com/office/drawing/2014/main" id="{DFC4E747-6DA2-4173-A258-108C6BF7426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106" name="Straight Connector 105">
                <a:extLst>
                  <a:ext uri="{FF2B5EF4-FFF2-40B4-BE49-F238E27FC236}">
                    <a16:creationId xmlns:a16="http://schemas.microsoft.com/office/drawing/2014/main" id="{70F8EBB4-FE90-49B7-B59F-9D92659ABE93}"/>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50F4A27F-4A04-436E-8826-90A82D706196}"/>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40E99431-397E-4CAB-8F7A-B2793EA36CAF}"/>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8" name="Freeform: Shape 87">
                <a:extLst>
                  <a:ext uri="{FF2B5EF4-FFF2-40B4-BE49-F238E27FC236}">
                    <a16:creationId xmlns:a16="http://schemas.microsoft.com/office/drawing/2014/main" id="{3DADE91B-55F9-4E86-B564-9784884412F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9" name="Freeform: Shape 88">
                <a:extLst>
                  <a:ext uri="{FF2B5EF4-FFF2-40B4-BE49-F238E27FC236}">
                    <a16:creationId xmlns:a16="http://schemas.microsoft.com/office/drawing/2014/main" id="{362FFDBE-61F4-4756-8B99-A38C509DACFD}"/>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3" name="Group 82">
              <a:extLst>
                <a:ext uri="{FF2B5EF4-FFF2-40B4-BE49-F238E27FC236}">
                  <a16:creationId xmlns:a16="http://schemas.microsoft.com/office/drawing/2014/main" id="{58D93CCD-027F-4CB1-9548-08F5DC9D53BC}"/>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5227E026-EC75-48A9-8BA2-8CB8AEFE3EF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5" name="Freeform: Shape 84">
                <a:extLst>
                  <a:ext uri="{FF2B5EF4-FFF2-40B4-BE49-F238E27FC236}">
                    <a16:creationId xmlns:a16="http://schemas.microsoft.com/office/drawing/2014/main" id="{05985668-D276-4809-8F42-9F2553DAF160}"/>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6" name="Freeform: Shape 85">
                <a:extLst>
                  <a:ext uri="{FF2B5EF4-FFF2-40B4-BE49-F238E27FC236}">
                    <a16:creationId xmlns:a16="http://schemas.microsoft.com/office/drawing/2014/main" id="{42A7E057-3EAA-4D8A-AFA1-50921E4240E2}"/>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52575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089" rtl="0" eaLnBrk="1" latinLnBrk="0" hangingPunct="1">
              <a:lnSpc>
                <a:spcPct val="90000"/>
              </a:lnSpc>
              <a:spcBef>
                <a:spcPct val="0"/>
              </a:spcBef>
              <a:buNone/>
              <a:defRPr lang="en-US" sz="3597"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80" name="Group 79">
            <a:extLst>
              <a:ext uri="{FF2B5EF4-FFF2-40B4-BE49-F238E27FC236}">
                <a16:creationId xmlns:a16="http://schemas.microsoft.com/office/drawing/2014/main" id="{600A898A-C854-4786-87E7-C485F6912A2F}"/>
              </a:ext>
            </a:extLst>
          </p:cNvPr>
          <p:cNvGrpSpPr/>
          <p:nvPr userDrawn="1"/>
        </p:nvGrpSpPr>
        <p:grpSpPr bwMode="ltGray">
          <a:xfrm>
            <a:off x="6256117" y="-21839"/>
            <a:ext cx="5932086" cy="6890047"/>
            <a:chOff x="6256117" y="-21839"/>
            <a:chExt cx="5932086" cy="6890047"/>
          </a:xfrm>
        </p:grpSpPr>
        <p:grpSp>
          <p:nvGrpSpPr>
            <p:cNvPr id="81" name="Group 80">
              <a:extLst>
                <a:ext uri="{FF2B5EF4-FFF2-40B4-BE49-F238E27FC236}">
                  <a16:creationId xmlns:a16="http://schemas.microsoft.com/office/drawing/2014/main" id="{8D9CA146-06AE-4C41-BBB5-FFE4635CBDE6}"/>
                </a:ext>
              </a:extLst>
            </p:cNvPr>
            <p:cNvGrpSpPr/>
            <p:nvPr userDrawn="1"/>
          </p:nvGrpSpPr>
          <p:grpSpPr bwMode="ltGray">
            <a:xfrm>
              <a:off x="8507413" y="1457714"/>
              <a:ext cx="3680790" cy="5392441"/>
              <a:chOff x="8507413" y="1457714"/>
              <a:chExt cx="3680790" cy="5392441"/>
            </a:xfrm>
          </p:grpSpPr>
          <p:sp>
            <p:nvSpPr>
              <p:cNvPr id="90" name="Freeform: Shape 89">
                <a:extLst>
                  <a:ext uri="{FF2B5EF4-FFF2-40B4-BE49-F238E27FC236}">
                    <a16:creationId xmlns:a16="http://schemas.microsoft.com/office/drawing/2014/main" id="{BDBA5663-C5B3-4372-B1AA-94A07FBE9FD3}"/>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1" name="Freeform: Shape 90">
                <a:extLst>
                  <a:ext uri="{FF2B5EF4-FFF2-40B4-BE49-F238E27FC236}">
                    <a16:creationId xmlns:a16="http://schemas.microsoft.com/office/drawing/2014/main" id="{868E7265-3D30-408A-9F22-1EB9CA588431}"/>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2" name="Freeform: Shape 91">
                <a:extLst>
                  <a:ext uri="{FF2B5EF4-FFF2-40B4-BE49-F238E27FC236}">
                    <a16:creationId xmlns:a16="http://schemas.microsoft.com/office/drawing/2014/main" id="{B2B4FB48-4C28-4012-879B-0955C5093997}"/>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3" name="Freeform: Shape 92">
                <a:extLst>
                  <a:ext uri="{FF2B5EF4-FFF2-40B4-BE49-F238E27FC236}">
                    <a16:creationId xmlns:a16="http://schemas.microsoft.com/office/drawing/2014/main" id="{22046105-D07D-49DC-B65A-04EB6964352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4" name="Freeform: Shape 93">
                <a:extLst>
                  <a:ext uri="{FF2B5EF4-FFF2-40B4-BE49-F238E27FC236}">
                    <a16:creationId xmlns:a16="http://schemas.microsoft.com/office/drawing/2014/main" id="{2720B2B0-8839-4C92-BBA7-31E7CFE06A44}"/>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5" name="Freeform: Shape 94">
                <a:extLst>
                  <a:ext uri="{FF2B5EF4-FFF2-40B4-BE49-F238E27FC236}">
                    <a16:creationId xmlns:a16="http://schemas.microsoft.com/office/drawing/2014/main" id="{3EAE8122-1D82-45FA-B1B6-98A75212FF00}"/>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6" name="Freeform: Shape 95">
                <a:extLst>
                  <a:ext uri="{FF2B5EF4-FFF2-40B4-BE49-F238E27FC236}">
                    <a16:creationId xmlns:a16="http://schemas.microsoft.com/office/drawing/2014/main" id="{D5BBFB25-A9D6-4664-BF4B-CAC0A64ACD47}"/>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7" name="Freeform: Shape 96">
                <a:extLst>
                  <a:ext uri="{FF2B5EF4-FFF2-40B4-BE49-F238E27FC236}">
                    <a16:creationId xmlns:a16="http://schemas.microsoft.com/office/drawing/2014/main" id="{8E433664-1F69-4F21-AEC1-DDBE9B997B63}"/>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8" name="Freeform: Shape 97">
                <a:extLst>
                  <a:ext uri="{FF2B5EF4-FFF2-40B4-BE49-F238E27FC236}">
                    <a16:creationId xmlns:a16="http://schemas.microsoft.com/office/drawing/2014/main" id="{6B5B76C8-170D-40B3-B2C7-4F18EC517EA9}"/>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99" name="Freeform: Shape 98">
                <a:extLst>
                  <a:ext uri="{FF2B5EF4-FFF2-40B4-BE49-F238E27FC236}">
                    <a16:creationId xmlns:a16="http://schemas.microsoft.com/office/drawing/2014/main" id="{B3A78843-B151-477E-94AD-8DD0245356CE}"/>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0" name="Freeform: Shape 99">
                <a:extLst>
                  <a:ext uri="{FF2B5EF4-FFF2-40B4-BE49-F238E27FC236}">
                    <a16:creationId xmlns:a16="http://schemas.microsoft.com/office/drawing/2014/main" id="{3ED324A3-17D9-40A1-8B6A-18DB8AF36A3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1" name="Freeform: Shape 100">
                <a:extLst>
                  <a:ext uri="{FF2B5EF4-FFF2-40B4-BE49-F238E27FC236}">
                    <a16:creationId xmlns:a16="http://schemas.microsoft.com/office/drawing/2014/main" id="{A7016E04-41DC-4457-920D-65A74AEC96C2}"/>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2" name="Freeform: Shape 101">
                <a:extLst>
                  <a:ext uri="{FF2B5EF4-FFF2-40B4-BE49-F238E27FC236}">
                    <a16:creationId xmlns:a16="http://schemas.microsoft.com/office/drawing/2014/main" id="{13C02578-8557-4556-8330-9346C438C14E}"/>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3" name="Freeform: Shape 102">
                <a:extLst>
                  <a:ext uri="{FF2B5EF4-FFF2-40B4-BE49-F238E27FC236}">
                    <a16:creationId xmlns:a16="http://schemas.microsoft.com/office/drawing/2014/main" id="{08CC9854-5FB6-4E31-B505-F02E31DBA137}"/>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4" name="Freeform: Shape 103">
                <a:extLst>
                  <a:ext uri="{FF2B5EF4-FFF2-40B4-BE49-F238E27FC236}">
                    <a16:creationId xmlns:a16="http://schemas.microsoft.com/office/drawing/2014/main" id="{0D6513E3-39F2-417E-A0B7-F9C2337209F7}"/>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105" name="Freeform: Shape 104">
                <a:extLst>
                  <a:ext uri="{FF2B5EF4-FFF2-40B4-BE49-F238E27FC236}">
                    <a16:creationId xmlns:a16="http://schemas.microsoft.com/office/drawing/2014/main" id="{F2D4F738-2527-4052-9170-50B6058CDB31}"/>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cxnSp>
            <p:nvCxnSpPr>
              <p:cNvPr id="106" name="Straight Connector 105">
                <a:extLst>
                  <a:ext uri="{FF2B5EF4-FFF2-40B4-BE49-F238E27FC236}">
                    <a16:creationId xmlns:a16="http://schemas.microsoft.com/office/drawing/2014/main" id="{383DB303-ED02-4053-8B41-E1664593705D}"/>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82" name="Group 81">
              <a:extLst>
                <a:ext uri="{FF2B5EF4-FFF2-40B4-BE49-F238E27FC236}">
                  <a16:creationId xmlns:a16="http://schemas.microsoft.com/office/drawing/2014/main" id="{913EC4EF-19A3-42CC-9B68-A52C80575F47}"/>
                </a:ext>
              </a:extLst>
            </p:cNvPr>
            <p:cNvGrpSpPr/>
            <p:nvPr userDrawn="1"/>
          </p:nvGrpSpPr>
          <p:grpSpPr bwMode="ltGray">
            <a:xfrm>
              <a:off x="7545167" y="-21839"/>
              <a:ext cx="1192433" cy="1098538"/>
              <a:chOff x="7545167" y="-9139"/>
              <a:chExt cx="1192433" cy="1098538"/>
            </a:xfrm>
          </p:grpSpPr>
          <p:sp>
            <p:nvSpPr>
              <p:cNvPr id="87" name="Freeform: Shape 86">
                <a:extLst>
                  <a:ext uri="{FF2B5EF4-FFF2-40B4-BE49-F238E27FC236}">
                    <a16:creationId xmlns:a16="http://schemas.microsoft.com/office/drawing/2014/main" id="{ECF275BF-1709-4A94-A739-091F1A6A1B2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8" name="Freeform: Shape 87">
                <a:extLst>
                  <a:ext uri="{FF2B5EF4-FFF2-40B4-BE49-F238E27FC236}">
                    <a16:creationId xmlns:a16="http://schemas.microsoft.com/office/drawing/2014/main" id="{5FDFFB25-FCC9-4A93-BCAF-01426DB1A7B7}"/>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799"/>
              </a:p>
            </p:txBody>
          </p:sp>
          <p:sp>
            <p:nvSpPr>
              <p:cNvPr id="89" name="Freeform: Shape 88">
                <a:extLst>
                  <a:ext uri="{FF2B5EF4-FFF2-40B4-BE49-F238E27FC236}">
                    <a16:creationId xmlns:a16="http://schemas.microsoft.com/office/drawing/2014/main" id="{748D1CD3-1BF6-4754-A9A8-C17F6D904D1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nvGrpSpPr>
            <p:cNvPr id="83" name="Group 82">
              <a:extLst>
                <a:ext uri="{FF2B5EF4-FFF2-40B4-BE49-F238E27FC236}">
                  <a16:creationId xmlns:a16="http://schemas.microsoft.com/office/drawing/2014/main" id="{7B0426A5-EFEF-4075-AC25-7B15753656E0}"/>
                </a:ext>
              </a:extLst>
            </p:cNvPr>
            <p:cNvGrpSpPr/>
            <p:nvPr userDrawn="1"/>
          </p:nvGrpSpPr>
          <p:grpSpPr bwMode="ltGray">
            <a:xfrm>
              <a:off x="6256117" y="5896894"/>
              <a:ext cx="1057910" cy="971314"/>
              <a:chOff x="6256117" y="5896894"/>
              <a:chExt cx="1057910" cy="971314"/>
            </a:xfrm>
          </p:grpSpPr>
          <p:sp>
            <p:nvSpPr>
              <p:cNvPr id="84" name="Freeform: Shape 83">
                <a:extLst>
                  <a:ext uri="{FF2B5EF4-FFF2-40B4-BE49-F238E27FC236}">
                    <a16:creationId xmlns:a16="http://schemas.microsoft.com/office/drawing/2014/main" id="{E679E4B1-D087-4329-9579-6909339E21B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5" name="Freeform: Shape 84">
                <a:extLst>
                  <a:ext uri="{FF2B5EF4-FFF2-40B4-BE49-F238E27FC236}">
                    <a16:creationId xmlns:a16="http://schemas.microsoft.com/office/drawing/2014/main" id="{995C04D1-E711-4872-A970-5806EA02D63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sp>
            <p:nvSpPr>
              <p:cNvPr id="86" name="Freeform: Shape 85">
                <a:extLst>
                  <a:ext uri="{FF2B5EF4-FFF2-40B4-BE49-F238E27FC236}">
                    <a16:creationId xmlns:a16="http://schemas.microsoft.com/office/drawing/2014/main" id="{D02ABF35-737F-478A-BB70-178397F692ED}"/>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799"/>
              </a:p>
            </p:txBody>
          </p:sp>
        </p:grpSp>
      </p:grpSp>
    </p:spTree>
    <p:extLst>
      <p:ext uri="{BB962C8B-B14F-4D97-AF65-F5344CB8AC3E}">
        <p14:creationId xmlns:p14="http://schemas.microsoft.com/office/powerpoint/2010/main" val="378891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84294009"/>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1765960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59188846"/>
      </p:ext>
    </p:extLst>
  </p:cSld>
  <p:clrMapOvr>
    <a:masterClrMapping/>
  </p:clrMapOvr>
  <p:hf sldNum="0"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17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50" Type="http://schemas.openxmlformats.org/officeDocument/2006/relationships/theme" Target="../theme/theme2.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slideLayout" Target="../slideLayouts/slideLayout59.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52" Type="http://schemas.openxmlformats.org/officeDocument/2006/relationships/image" Target="../media/image3.pn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slideLayout" Target="../slideLayouts/slideLayout58.xml"/><Relationship Id="rId8" Type="http://schemas.openxmlformats.org/officeDocument/2006/relationships/slideLayout" Target="../slideLayouts/slideLayout18.xml"/><Relationship Id="rId51" Type="http://schemas.openxmlformats.org/officeDocument/2006/relationships/image" Target="../media/image2.emf"/><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7.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64.xml"/><Relationship Id="rId7" Type="http://schemas.openxmlformats.org/officeDocument/2006/relationships/image" Target="../media/image2.emf"/><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4.xml"/><Relationship Id="rId5" Type="http://schemas.openxmlformats.org/officeDocument/2006/relationships/slideLayout" Target="../slideLayouts/slideLayout66.xml"/><Relationship Id="rId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image" Target="../media/image18.emf"/><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heme" Target="../theme/theme5.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85.xml"/><Relationship Id="rId7" Type="http://schemas.openxmlformats.org/officeDocument/2006/relationships/tags" Target="../tags/tag6.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elligent Query Processing</a:t>
            </a:r>
          </a:p>
        </p:txBody>
      </p:sp>
    </p:spTree>
    <p:extLst>
      <p:ext uri="{BB962C8B-B14F-4D97-AF65-F5344CB8AC3E}">
        <p14:creationId xmlns:p14="http://schemas.microsoft.com/office/powerpoint/2010/main" val="29615968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798" r:id="rId5"/>
    <p:sldLayoutId id="2147484870" r:id="rId6"/>
    <p:sldLayoutId id="2147484871" r:id="rId7"/>
    <p:sldLayoutId id="2147484872" r:id="rId8"/>
    <p:sldLayoutId id="2147484873" r:id="rId9"/>
    <p:sldLayoutId id="2147484934" r:id="rId10"/>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52123196"/>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 id="2147484918" r:id="rId44"/>
    <p:sldLayoutId id="2147484919" r:id="rId45"/>
    <p:sldLayoutId id="2147484920" r:id="rId46"/>
    <p:sldLayoutId id="2147484921" r:id="rId47"/>
    <p:sldLayoutId id="2147484922" r:id="rId48"/>
    <p:sldLayoutId id="2147484923" r:id="rId49"/>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7"/>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0720049"/>
      </p:ext>
    </p:extLst>
  </p:cSld>
  <p:clrMap bg1="lt1" tx1="dk1" bg2="lt2" tx2="dk2" accent1="accent1" accent2="accent2" accent3="accent3" accent4="accent4" accent5="accent5" accent6="accent6" hlink="hlink" folHlink="folHlink"/>
  <p:sldLayoutIdLst>
    <p:sldLayoutId id="2147484925" r:id="rId1"/>
    <p:sldLayoutId id="2147484926" r:id="rId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98473155"/>
      </p:ext>
    </p:extLst>
  </p:cSld>
  <p:clrMap bg1="lt1" tx1="dk1" bg2="lt2" tx2="dk2" accent1="accent1" accent2="accent2" accent3="accent3" accent4="accent4" accent5="accent5" accent6="accent6" hlink="hlink" folHlink="folHlink"/>
  <p:sldLayoutIdLst>
    <p:sldLayoutId id="2147484928" r:id="rId1"/>
    <p:sldLayoutId id="2147484929" r:id="rId2"/>
    <p:sldLayoutId id="2147484931" r:id="rId3"/>
    <p:sldLayoutId id="2147484932" r:id="rId4"/>
    <p:sldLayoutId id="2147484933" r:id="rId5"/>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1" y="1435505"/>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rot="5400000">
            <a:off x="9288988" y="2942645"/>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1" tIns="146209" rIns="182761" bIns="146209" numCol="1" spcCol="0" rtlCol="0" fromWordArt="0" anchor="t" anchorCtr="0" forceAA="0" compatLnSpc="1">
            <a:prstTxWarp prst="textNoShape">
              <a:avLst/>
            </a:prstTxWarp>
            <a:noAutofit/>
          </a:bodyPr>
          <a:lstStyle/>
          <a:p>
            <a:pPr algn="ctr" defTabSz="931819" fontAlgn="base">
              <a:lnSpc>
                <a:spcPct val="90000"/>
              </a:lnSpc>
              <a:spcBef>
                <a:spcPct val="0"/>
              </a:spcBef>
              <a:spcAft>
                <a:spcPct val="0"/>
              </a:spcAft>
            </a:pPr>
            <a:endParaRPr lang="en-US" sz="239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7955767"/>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Lst>
  <p:transition>
    <p:fade/>
  </p:transition>
  <p:hf sldNum="0" hdr="0" ftr="0" dt="0"/>
  <p:txStyles>
    <p:titleStyle>
      <a:lvl1pPr algn="l" defTabSz="932089" rtl="0" eaLnBrk="1" latinLnBrk="0" hangingPunct="1">
        <a:lnSpc>
          <a:spcPct val="100000"/>
        </a:lnSpc>
        <a:spcBef>
          <a:spcPct val="0"/>
        </a:spcBef>
        <a:spcAft>
          <a:spcPts val="1199"/>
        </a:spcAft>
        <a:buNone/>
        <a:defRPr lang="en-US" sz="3597"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44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8"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6880" marR="0" indent="-228440"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gradFill>
            <a:gsLst>
              <a:gs pos="1250">
                <a:schemeClr val="tx1"/>
              </a:gs>
              <a:gs pos="100000">
                <a:schemeClr val="tx1"/>
              </a:gs>
            </a:gsLst>
            <a:lin ang="5400000" scaled="0"/>
          </a:gradFill>
          <a:latin typeface="+mn-lt"/>
          <a:ea typeface="+mn-ea"/>
          <a:cs typeface="+mn-cs"/>
        </a:defRPr>
      </a:lvl2pPr>
      <a:lvl3pPr marL="656765" marR="0" indent="-199885"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99" kern="1200" spc="0" baseline="0">
          <a:gradFill>
            <a:gsLst>
              <a:gs pos="1250">
                <a:schemeClr val="tx1"/>
              </a:gs>
              <a:gs pos="100000">
                <a:schemeClr val="tx1"/>
              </a:gs>
            </a:gsLst>
            <a:lin ang="5400000" scaled="0"/>
          </a:gradFill>
          <a:latin typeface="+mn-lt"/>
          <a:ea typeface="+mn-ea"/>
          <a:cs typeface="+mn-cs"/>
        </a:defRPr>
      </a:lvl3pPr>
      <a:lvl4pPr marL="842373" marR="0" indent="-180848"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4pPr>
      <a:lvl5pPr marL="1023221" marR="0" indent="-168157" algn="l" defTabSz="93208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99" kern="1200" spc="0" baseline="0">
          <a:gradFill>
            <a:gsLst>
              <a:gs pos="1250">
                <a:schemeClr val="tx1"/>
              </a:gs>
              <a:gs pos="100000">
                <a:schemeClr val="tx1"/>
              </a:gs>
            </a:gsLst>
            <a:lin ang="5400000" scaled="0"/>
          </a:gradFill>
          <a:latin typeface="+mn-lt"/>
          <a:ea typeface="+mn-ea"/>
          <a:cs typeface="+mn-cs"/>
        </a:defRPr>
      </a:lvl5pPr>
      <a:lvl6pPr marL="2563244"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29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5335"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1380" indent="-233023" algn="l" defTabSz="932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089" rtl="0" eaLnBrk="1" latinLnBrk="0" hangingPunct="1">
        <a:defRPr sz="1799" kern="1200">
          <a:solidFill>
            <a:schemeClr val="tx1"/>
          </a:solidFill>
          <a:latin typeface="+mn-lt"/>
          <a:ea typeface="+mn-ea"/>
          <a:cs typeface="+mn-cs"/>
        </a:defRPr>
      </a:lvl1pPr>
      <a:lvl2pPr marL="466045" algn="l" defTabSz="932089" rtl="0" eaLnBrk="1" latinLnBrk="0" hangingPunct="1">
        <a:defRPr sz="1799" kern="1200">
          <a:solidFill>
            <a:schemeClr val="tx1"/>
          </a:solidFill>
          <a:latin typeface="+mn-lt"/>
          <a:ea typeface="+mn-ea"/>
          <a:cs typeface="+mn-cs"/>
        </a:defRPr>
      </a:lvl2pPr>
      <a:lvl3pPr marL="932089" algn="l" defTabSz="932089" rtl="0" eaLnBrk="1" latinLnBrk="0" hangingPunct="1">
        <a:defRPr sz="1799" kern="1200">
          <a:solidFill>
            <a:schemeClr val="tx1"/>
          </a:solidFill>
          <a:latin typeface="+mn-lt"/>
          <a:ea typeface="+mn-ea"/>
          <a:cs typeface="+mn-cs"/>
        </a:defRPr>
      </a:lvl3pPr>
      <a:lvl4pPr marL="1398134" algn="l" defTabSz="932089" rtl="0" eaLnBrk="1" latinLnBrk="0" hangingPunct="1">
        <a:defRPr sz="1799" kern="1200">
          <a:solidFill>
            <a:schemeClr val="tx1"/>
          </a:solidFill>
          <a:latin typeface="+mn-lt"/>
          <a:ea typeface="+mn-ea"/>
          <a:cs typeface="+mn-cs"/>
        </a:defRPr>
      </a:lvl4pPr>
      <a:lvl5pPr marL="1864178" algn="l" defTabSz="932089" rtl="0" eaLnBrk="1" latinLnBrk="0" hangingPunct="1">
        <a:defRPr sz="1799" kern="1200">
          <a:solidFill>
            <a:schemeClr val="tx1"/>
          </a:solidFill>
          <a:latin typeface="+mn-lt"/>
          <a:ea typeface="+mn-ea"/>
          <a:cs typeface="+mn-cs"/>
        </a:defRPr>
      </a:lvl5pPr>
      <a:lvl6pPr marL="2330224" algn="l" defTabSz="932089" rtl="0" eaLnBrk="1" latinLnBrk="0" hangingPunct="1">
        <a:defRPr sz="1799" kern="1200">
          <a:solidFill>
            <a:schemeClr val="tx1"/>
          </a:solidFill>
          <a:latin typeface="+mn-lt"/>
          <a:ea typeface="+mn-ea"/>
          <a:cs typeface="+mn-cs"/>
        </a:defRPr>
      </a:lvl6pPr>
      <a:lvl7pPr marL="2796267" algn="l" defTabSz="932089" rtl="0" eaLnBrk="1" latinLnBrk="0" hangingPunct="1">
        <a:defRPr sz="1799" kern="1200">
          <a:solidFill>
            <a:schemeClr val="tx1"/>
          </a:solidFill>
          <a:latin typeface="+mn-lt"/>
          <a:ea typeface="+mn-ea"/>
          <a:cs typeface="+mn-cs"/>
        </a:defRPr>
      </a:lvl7pPr>
      <a:lvl8pPr marL="3262312" algn="l" defTabSz="932089" rtl="0" eaLnBrk="1" latinLnBrk="0" hangingPunct="1">
        <a:defRPr sz="1799" kern="1200">
          <a:solidFill>
            <a:schemeClr val="tx1"/>
          </a:solidFill>
          <a:latin typeface="+mn-lt"/>
          <a:ea typeface="+mn-ea"/>
          <a:cs typeface="+mn-cs"/>
        </a:defRPr>
      </a:lvl8pPr>
      <a:lvl9pPr marL="3728357" algn="l" defTabSz="932089"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0766032"/>
      </p:ext>
    </p:extLst>
  </p:cSld>
  <p:clrMap bg1="lt1" tx1="dk1" bg2="lt2" tx2="dk2" accent1="accent1" accent2="accent2" accent3="accent3" accent4="accent4" accent5="accent5" accent6="accent6" hlink="hlink" folHlink="folHlink"/>
  <p:sldLayoutIdLst>
    <p:sldLayoutId id="2147484953" r:id="rId1"/>
    <p:sldLayoutId id="2147484954" r:id="rId2"/>
    <p:sldLayoutId id="2147484955" r:id="rId3"/>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diagramColors" Target="../diagrams/colors7.xml"/><Relationship Id="rId11" Type="http://schemas.openxmlformats.org/officeDocument/2006/relationships/image" Target="../media/image32.png"/><Relationship Id="rId5" Type="http://schemas.openxmlformats.org/officeDocument/2006/relationships/diagramQuickStyle" Target="../diagrams/quickStyle7.xml"/><Relationship Id="rId10" Type="http://schemas.openxmlformats.org/officeDocument/2006/relationships/image" Target="../media/image31.png"/><Relationship Id="rId4" Type="http://schemas.openxmlformats.org/officeDocument/2006/relationships/diagramLayout" Target="../diagrams/layout7.xml"/><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12.xml"/><Relationship Id="rId13" Type="http://schemas.openxmlformats.org/officeDocument/2006/relationships/diagramData" Target="../diagrams/data13.xml"/><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17" Type="http://schemas.microsoft.com/office/2007/relationships/diagramDrawing" Target="../diagrams/drawing13.xml"/><Relationship Id="rId2" Type="http://schemas.openxmlformats.org/officeDocument/2006/relationships/notesSlide" Target="../notesSlides/notesSlide13.xml"/><Relationship Id="rId16" Type="http://schemas.openxmlformats.org/officeDocument/2006/relationships/diagramColors" Target="../diagrams/colors13.xml"/><Relationship Id="rId1" Type="http://schemas.openxmlformats.org/officeDocument/2006/relationships/slideLayout" Target="../slideLayouts/slideLayout5.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5" Type="http://schemas.openxmlformats.org/officeDocument/2006/relationships/diagramQuickStyle" Target="../diagrams/quickStyle13.xml"/><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 Id="rId14" Type="http://schemas.openxmlformats.org/officeDocument/2006/relationships/diagramLayout" Target="../diagrams/layout13.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15.xml"/><Relationship Id="rId13" Type="http://schemas.openxmlformats.org/officeDocument/2006/relationships/image" Target="../media/image35.png"/><Relationship Id="rId3" Type="http://schemas.openxmlformats.org/officeDocument/2006/relationships/diagramData" Target="../diagrams/data14.xml"/><Relationship Id="rId7" Type="http://schemas.microsoft.com/office/2007/relationships/diagramDrawing" Target="../diagrams/drawing14.xml"/><Relationship Id="rId12" Type="http://schemas.microsoft.com/office/2007/relationships/diagramDrawing" Target="../diagrams/drawing15.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Colors" Target="../diagrams/colors14.xml"/><Relationship Id="rId11" Type="http://schemas.openxmlformats.org/officeDocument/2006/relationships/diagramColors" Target="../diagrams/colors15.xml"/><Relationship Id="rId5" Type="http://schemas.openxmlformats.org/officeDocument/2006/relationships/diagramQuickStyle" Target="../diagrams/quickStyle14.xml"/><Relationship Id="rId10" Type="http://schemas.openxmlformats.org/officeDocument/2006/relationships/diagramQuickStyle" Target="../diagrams/quickStyle15.xml"/><Relationship Id="rId4" Type="http://schemas.openxmlformats.org/officeDocument/2006/relationships/diagramLayout" Target="../diagrams/layout14.xml"/><Relationship Id="rId9" Type="http://schemas.openxmlformats.org/officeDocument/2006/relationships/diagramLayout" Target="../diagrams/layout15.xml"/><Relationship Id="rId1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3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9.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xml"/><Relationship Id="rId7" Type="http://schemas.openxmlformats.org/officeDocument/2006/relationships/image" Target="../media/image23.png"/><Relationship Id="rId2" Type="http://schemas.openxmlformats.org/officeDocument/2006/relationships/slideLayout" Target="../slideLayouts/slideLayout60.xml"/><Relationship Id="rId1" Type="http://schemas.openxmlformats.org/officeDocument/2006/relationships/tags" Target="../tags/tag7.xml"/><Relationship Id="rId6" Type="http://schemas.openxmlformats.org/officeDocument/2006/relationships/image" Target="../media/image22.jp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8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2722354"/>
            <a:ext cx="5199473" cy="1772793"/>
          </a:xfrm>
        </p:spPr>
        <p:txBody>
          <a:bodyPr/>
          <a:lstStyle/>
          <a:p>
            <a:r>
              <a:rPr lang="en-US" dirty="0"/>
              <a:t>Introduction to </a:t>
            </a:r>
            <a:br>
              <a:rPr lang="en-US" dirty="0"/>
            </a:br>
            <a:r>
              <a:rPr lang="en-US" dirty="0"/>
              <a:t>Intelligent Query Processing</a:t>
            </a:r>
            <a:br>
              <a:rPr lang="en-US" dirty="0"/>
            </a:br>
            <a:endParaRPr lang="en-US" dirty="0"/>
          </a:p>
        </p:txBody>
      </p:sp>
      <p:sp>
        <p:nvSpPr>
          <p:cNvPr id="3" name="Title 1">
            <a:extLst>
              <a:ext uri="{FF2B5EF4-FFF2-40B4-BE49-F238E27FC236}">
                <a16:creationId xmlns:a16="http://schemas.microsoft.com/office/drawing/2014/main" id="{2D7DCE8A-E71F-C224-3A7D-49E1051B4CDB}"/>
              </a:ext>
            </a:extLst>
          </p:cNvPr>
          <p:cNvSpPr txBox="1">
            <a:spLocks/>
          </p:cNvSpPr>
          <p:nvPr/>
        </p:nvSpPr>
        <p:spPr>
          <a:xfrm>
            <a:off x="496113" y="5006292"/>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465562" cy="1143000"/>
          </a:xfrm>
        </p:spPr>
        <p:txBody>
          <a:bodyPr/>
          <a:lstStyle/>
          <a:p>
            <a:r>
              <a:rPr lang="en-US" dirty="0"/>
              <a:t>Batch Mode Memory Grant Feedback (2017)</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282438984"/>
              </p:ext>
            </p:extLst>
          </p:nvPr>
        </p:nvGraphicFramePr>
        <p:xfrm>
          <a:off x="9593714" y="2962257"/>
          <a:ext cx="2558173" cy="1545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D5048739-6050-4DB0-B474-251984ABDB6A}"/>
              </a:ext>
            </a:extLst>
          </p:cNvPr>
          <p:cNvPicPr>
            <a:picLocks noChangeAspect="1"/>
          </p:cNvPicPr>
          <p:nvPr/>
        </p:nvPicPr>
        <p:blipFill>
          <a:blip r:embed="rId8"/>
          <a:stretch>
            <a:fillRect/>
          </a:stretch>
        </p:blipFill>
        <p:spPr>
          <a:xfrm>
            <a:off x="1313103" y="1856054"/>
            <a:ext cx="7713250" cy="1545566"/>
          </a:xfrm>
          <a:prstGeom prst="rect">
            <a:avLst/>
          </a:prstGeom>
          <a:ln>
            <a:noFill/>
          </a:ln>
          <a:effectLst>
            <a:outerShdw blurRad="190500" algn="tl" rotWithShape="0">
              <a:srgbClr val="000000">
                <a:alpha val="70000"/>
              </a:srgbClr>
            </a:outerShdw>
          </a:effectLst>
        </p:spPr>
      </p:pic>
      <p:sp>
        <p:nvSpPr>
          <p:cNvPr id="10" name="Rectangle 9">
            <a:extLst>
              <a:ext uri="{FF2B5EF4-FFF2-40B4-BE49-F238E27FC236}">
                <a16:creationId xmlns:a16="http://schemas.microsoft.com/office/drawing/2014/main" id="{4A73D1DD-BF87-4515-8397-33F27CC349E5}"/>
              </a:ext>
            </a:extLst>
          </p:cNvPr>
          <p:cNvSpPr/>
          <p:nvPr/>
        </p:nvSpPr>
        <p:spPr>
          <a:xfrm>
            <a:off x="1313103" y="1191416"/>
            <a:ext cx="5144714" cy="46922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dirty="0">
                <a:solidFill>
                  <a:prstClr val="white"/>
                </a:solidFill>
                <a:latin typeface="Calibri" panose="020F0502020204030204"/>
              </a:rPr>
              <a:t>First Execution (Spills detected; feedback generated)</a:t>
            </a:r>
          </a:p>
        </p:txBody>
      </p:sp>
      <p:pic>
        <p:nvPicPr>
          <p:cNvPr id="11" name="Picture 10">
            <a:extLst>
              <a:ext uri="{FF2B5EF4-FFF2-40B4-BE49-F238E27FC236}">
                <a16:creationId xmlns:a16="http://schemas.microsoft.com/office/drawing/2014/main" id="{7AFEAC2F-B138-4122-A69E-3976E66703F1}"/>
              </a:ext>
            </a:extLst>
          </p:cNvPr>
          <p:cNvPicPr>
            <a:picLocks noChangeAspect="1"/>
          </p:cNvPicPr>
          <p:nvPr/>
        </p:nvPicPr>
        <p:blipFill>
          <a:blip r:embed="rId9"/>
          <a:stretch>
            <a:fillRect/>
          </a:stretch>
        </p:blipFill>
        <p:spPr>
          <a:xfrm>
            <a:off x="1313103" y="2539921"/>
            <a:ext cx="2187122" cy="1057110"/>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F8E37A77-0F39-4C25-9B84-EBC715B0252D}"/>
              </a:ext>
            </a:extLst>
          </p:cNvPr>
          <p:cNvPicPr>
            <a:picLocks noChangeAspect="1"/>
          </p:cNvPicPr>
          <p:nvPr/>
        </p:nvPicPr>
        <p:blipFill>
          <a:blip r:embed="rId10"/>
          <a:stretch>
            <a:fillRect/>
          </a:stretch>
        </p:blipFill>
        <p:spPr>
          <a:xfrm>
            <a:off x="1319199" y="4375593"/>
            <a:ext cx="7727831" cy="1479953"/>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8D2B87E5-962F-47F1-B5E0-0CD2D25A9C98}"/>
              </a:ext>
            </a:extLst>
          </p:cNvPr>
          <p:cNvPicPr>
            <a:picLocks noChangeAspect="1"/>
          </p:cNvPicPr>
          <p:nvPr/>
        </p:nvPicPr>
        <p:blipFill>
          <a:blip r:embed="rId11"/>
          <a:stretch>
            <a:fillRect/>
          </a:stretch>
        </p:blipFill>
        <p:spPr>
          <a:xfrm>
            <a:off x="1319199" y="5084737"/>
            <a:ext cx="2208994" cy="976915"/>
          </a:xfrm>
          <a:prstGeom prst="rect">
            <a:avLst/>
          </a:prstGeom>
          <a:ln>
            <a:noFill/>
          </a:ln>
          <a:effectLst>
            <a:outerShdw blurRad="190500" algn="tl" rotWithShape="0">
              <a:srgbClr val="000000">
                <a:alpha val="70000"/>
              </a:srgbClr>
            </a:outerShdw>
          </a:effectLst>
        </p:spPr>
      </p:pic>
      <p:sp>
        <p:nvSpPr>
          <p:cNvPr id="14" name="Rectangle 13">
            <a:extLst>
              <a:ext uri="{FF2B5EF4-FFF2-40B4-BE49-F238E27FC236}">
                <a16:creationId xmlns:a16="http://schemas.microsoft.com/office/drawing/2014/main" id="{41875811-7517-42C0-B2D0-E63073BD775F}"/>
              </a:ext>
            </a:extLst>
          </p:cNvPr>
          <p:cNvSpPr/>
          <p:nvPr/>
        </p:nvSpPr>
        <p:spPr bwMode="auto">
          <a:xfrm>
            <a:off x="2423696" y="1690643"/>
            <a:ext cx="2007794" cy="84927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F7293E5D-1366-4C68-8CFA-258550F2B4CC}"/>
              </a:ext>
            </a:extLst>
          </p:cNvPr>
          <p:cNvSpPr/>
          <p:nvPr/>
        </p:nvSpPr>
        <p:spPr>
          <a:xfrm>
            <a:off x="1319199" y="3822530"/>
            <a:ext cx="5144714" cy="46922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1836" dirty="0">
                <a:solidFill>
                  <a:prstClr val="white"/>
                </a:solidFill>
                <a:latin typeface="Calibri" panose="020F0502020204030204"/>
              </a:rPr>
              <a:t>Second Execution (Memory grant adjusted)</a:t>
            </a:r>
          </a:p>
        </p:txBody>
      </p:sp>
    </p:spTree>
    <p:extLst>
      <p:ext uri="{BB962C8B-B14F-4D97-AF65-F5344CB8AC3E}">
        <p14:creationId xmlns:p14="http://schemas.microsoft.com/office/powerpoint/2010/main" val="3753584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3656545365"/>
              </p:ext>
            </p:extLst>
          </p:nvPr>
        </p:nvGraphicFramePr>
        <p:xfrm>
          <a:off x="342899" y="876300"/>
          <a:ext cx="7828281"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6196807" y="4559857"/>
            <a:ext cx="2067084" cy="1504358"/>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713AB702-27D3-464D-A86F-C85BBA841A27}"/>
              </a:ext>
            </a:extLst>
          </p:cNvPr>
          <p:cNvSpPr txBox="1"/>
          <p:nvPr/>
        </p:nvSpPr>
        <p:spPr>
          <a:xfrm>
            <a:off x="7622539" y="1692375"/>
            <a:ext cx="4474212" cy="830997"/>
          </a:xfrm>
          <a:prstGeom prst="rect">
            <a:avLst/>
          </a:prstGeom>
          <a:noFill/>
        </p:spPr>
        <p:txBody>
          <a:bodyPr wrap="square" rtlCol="0">
            <a:spAutoFit/>
          </a:bodyPr>
          <a:lstStyle/>
          <a:p>
            <a:r>
              <a:rPr lang="en-US" sz="2400" dirty="0"/>
              <a:t>Row Mode is just like Batch Mode, but different.</a:t>
            </a:r>
          </a:p>
        </p:txBody>
      </p:sp>
    </p:spTree>
    <p:extLst>
      <p:ext uri="{BB962C8B-B14F-4D97-AF65-F5344CB8AC3E}">
        <p14:creationId xmlns:p14="http://schemas.microsoft.com/office/powerpoint/2010/main" val="14289112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Row Mode Memory Grant Feedback (2019)</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2103168564"/>
              </p:ext>
            </p:extLst>
          </p:nvPr>
        </p:nvGraphicFramePr>
        <p:xfrm>
          <a:off x="9048195" y="2790176"/>
          <a:ext cx="2915599" cy="17781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ontent Placeholder 9">
            <a:extLst>
              <a:ext uri="{FF2B5EF4-FFF2-40B4-BE49-F238E27FC236}">
                <a16:creationId xmlns:a16="http://schemas.microsoft.com/office/drawing/2014/main" id="{776D5D40-AF67-42B7-82DA-71A3B852E038}"/>
              </a:ext>
            </a:extLst>
          </p:cNvPr>
          <p:cNvSpPr txBox="1">
            <a:spLocks/>
          </p:cNvSpPr>
          <p:nvPr/>
        </p:nvSpPr>
        <p:spPr>
          <a:xfrm>
            <a:off x="300036" y="1002092"/>
            <a:ext cx="10911204" cy="1030286"/>
          </a:xfrm>
          <a:prstGeom prst="rect">
            <a:avLst/>
          </a:prstGeom>
        </p:spPr>
        <p:txBody>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pands on the batch mode memory grant feedback feature by also adjusting memory grant sizes for row mode operators.</a:t>
            </a:r>
          </a:p>
          <a:p>
            <a:endParaRPr lang="en-US" dirty="0"/>
          </a:p>
          <a:p>
            <a:endParaRPr lang="en-US" dirty="0"/>
          </a:p>
        </p:txBody>
      </p:sp>
      <p:sp>
        <p:nvSpPr>
          <p:cNvPr id="9" name="Rectangle 8">
            <a:extLst>
              <a:ext uri="{FF2B5EF4-FFF2-40B4-BE49-F238E27FC236}">
                <a16:creationId xmlns:a16="http://schemas.microsoft.com/office/drawing/2014/main" id="{6C5F9812-21C7-4ED6-9B8B-A1E8077B1172}"/>
              </a:ext>
            </a:extLst>
          </p:cNvPr>
          <p:cNvSpPr/>
          <p:nvPr/>
        </p:nvSpPr>
        <p:spPr>
          <a:xfrm>
            <a:off x="497406" y="5616342"/>
            <a:ext cx="11197188" cy="461665"/>
          </a:xfrm>
          <a:prstGeom prst="rect">
            <a:avLst/>
          </a:prstGeom>
        </p:spPr>
        <p:txBody>
          <a:bodyPr wrap="square">
            <a:spAutoFit/>
          </a:bodyPr>
          <a:lstStyle/>
          <a:p>
            <a:r>
              <a:rPr lang="en-US" sz="2400" dirty="0"/>
              <a:t>Two new query plan attributes will be shown for actual post-execution plans. </a:t>
            </a:r>
          </a:p>
        </p:txBody>
      </p:sp>
      <p:pic>
        <p:nvPicPr>
          <p:cNvPr id="4" name="Picture 3">
            <a:extLst>
              <a:ext uri="{FF2B5EF4-FFF2-40B4-BE49-F238E27FC236}">
                <a16:creationId xmlns:a16="http://schemas.microsoft.com/office/drawing/2014/main" id="{97CDCD35-8391-4B8B-E837-A3039A12BB54}"/>
              </a:ext>
            </a:extLst>
          </p:cNvPr>
          <p:cNvPicPr>
            <a:picLocks noChangeAspect="1"/>
          </p:cNvPicPr>
          <p:nvPr/>
        </p:nvPicPr>
        <p:blipFill>
          <a:blip r:embed="rId8"/>
          <a:stretch>
            <a:fillRect/>
          </a:stretch>
        </p:blipFill>
        <p:spPr>
          <a:xfrm>
            <a:off x="497406" y="2187590"/>
            <a:ext cx="3054447" cy="2950906"/>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0C3287A7-0AE5-15D0-F5AF-75994F4D77A7}"/>
              </a:ext>
            </a:extLst>
          </p:cNvPr>
          <p:cNvPicPr>
            <a:picLocks noChangeAspect="1"/>
          </p:cNvPicPr>
          <p:nvPr/>
        </p:nvPicPr>
        <p:blipFill>
          <a:blip r:embed="rId9"/>
          <a:stretch>
            <a:fillRect/>
          </a:stretch>
        </p:blipFill>
        <p:spPr>
          <a:xfrm>
            <a:off x="4001770" y="2256926"/>
            <a:ext cx="4493681" cy="2844624"/>
          </a:xfrm>
          <a:prstGeom prst="rect">
            <a:avLst/>
          </a:prstGeom>
        </p:spPr>
      </p:pic>
      <p:sp>
        <p:nvSpPr>
          <p:cNvPr id="11" name="Rectangle 10">
            <a:extLst>
              <a:ext uri="{FF2B5EF4-FFF2-40B4-BE49-F238E27FC236}">
                <a16:creationId xmlns:a16="http://schemas.microsoft.com/office/drawing/2014/main" id="{B6F9569C-49E1-F443-A366-351B543FFA15}"/>
              </a:ext>
            </a:extLst>
          </p:cNvPr>
          <p:cNvSpPr/>
          <p:nvPr/>
        </p:nvSpPr>
        <p:spPr>
          <a:xfrm>
            <a:off x="4141310" y="3308689"/>
            <a:ext cx="4354142" cy="468086"/>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BF248DF-2AE3-B6FF-66FC-038E8D10D756}"/>
              </a:ext>
            </a:extLst>
          </p:cNvPr>
          <p:cNvSpPr/>
          <p:nvPr/>
        </p:nvSpPr>
        <p:spPr>
          <a:xfrm>
            <a:off x="497405" y="4474029"/>
            <a:ext cx="3054447" cy="664467"/>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4664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666316472"/>
              </p:ext>
            </p:extLst>
          </p:nvPr>
        </p:nvGraphicFramePr>
        <p:xfrm>
          <a:off x="342899" y="876300"/>
          <a:ext cx="11427760" cy="5404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7721601" y="4793672"/>
            <a:ext cx="2216726" cy="1487535"/>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6236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and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600353770"/>
              </p:ext>
            </p:extLst>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extLst>
              <p:ext uri="{D42A27DB-BD31-4B8C-83A1-F6EECF244321}">
                <p14:modId xmlns:p14="http://schemas.microsoft.com/office/powerpoint/2010/main" val="44185414"/>
              </p:ext>
            </p:extLst>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4" name="Diagram 33">
            <a:extLst>
              <a:ext uri="{FF2B5EF4-FFF2-40B4-BE49-F238E27FC236}">
                <a16:creationId xmlns:a16="http://schemas.microsoft.com/office/drawing/2014/main" id="{BB3BA141-CF57-4CDD-90AC-626287F66BB9}"/>
              </a:ext>
            </a:extLst>
          </p:cNvPr>
          <p:cNvGraphicFramePr/>
          <p:nvPr>
            <p:extLst>
              <p:ext uri="{D42A27DB-BD31-4B8C-83A1-F6EECF244321}">
                <p14:modId xmlns:p14="http://schemas.microsoft.com/office/powerpoint/2010/main" val="723332641"/>
              </p:ext>
            </p:extLst>
          </p:nvPr>
        </p:nvGraphicFramePr>
        <p:xfrm>
          <a:off x="523763" y="854052"/>
          <a:ext cx="11144474" cy="538459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981935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Feedback Persistence and Percentile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nvGraphicFramePr>
        <p:xfrm>
          <a:off x="9123259" y="854052"/>
          <a:ext cx="2675164" cy="1590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2C8C8BAC-F839-42D1-B539-F3EBB3C5106C}"/>
              </a:ext>
            </a:extLst>
          </p:cNvPr>
          <p:cNvGraphicFramePr/>
          <p:nvPr/>
        </p:nvGraphicFramePr>
        <p:xfrm>
          <a:off x="9364589" y="1086738"/>
          <a:ext cx="2558173" cy="15455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4" name="Picture 2" descr="Chart, line chart&#10;&#10;Description automatically generated">
            <a:extLst>
              <a:ext uri="{FF2B5EF4-FFF2-40B4-BE49-F238E27FC236}">
                <a16:creationId xmlns:a16="http://schemas.microsoft.com/office/drawing/2014/main" id="{607DD73E-E5A8-B861-475A-721584C13CB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8654" y="956733"/>
            <a:ext cx="7029628" cy="3566351"/>
          </a:xfrm>
          <a:prstGeom prst="rect">
            <a:avLst/>
          </a:prstGeom>
          <a:ln>
            <a:noFill/>
          </a:ln>
          <a:effectLst>
            <a:outerShdw blurRad="190500" algn="tl" rotWithShape="0">
              <a:srgbClr val="000000">
                <a:alpha val="70000"/>
              </a:srgbClr>
            </a:outerShdw>
          </a:effectLst>
        </p:spPr>
      </p:pic>
      <p:pic>
        <p:nvPicPr>
          <p:cNvPr id="7" name="Picture 2" descr="Chart, line chart&#10;&#10;Description automatically generated">
            <a:extLst>
              <a:ext uri="{FF2B5EF4-FFF2-40B4-BE49-F238E27FC236}">
                <a16:creationId xmlns:a16="http://schemas.microsoft.com/office/drawing/2014/main" id="{A8A61DCF-DB58-ADF9-1D34-3E1AEE6C21D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80330" y="2763756"/>
            <a:ext cx="7544179" cy="344604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58200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0DD4BF1-2ACF-38C2-F260-81A9C76CF1CF}"/>
              </a:ext>
            </a:extLst>
          </p:cNvPr>
          <p:cNvGrpSpPr/>
          <p:nvPr/>
        </p:nvGrpSpPr>
        <p:grpSpPr>
          <a:xfrm>
            <a:off x="731199" y="1630892"/>
            <a:ext cx="4493681" cy="2844624"/>
            <a:chOff x="233338" y="2120420"/>
            <a:chExt cx="4493681" cy="2844624"/>
          </a:xfrm>
        </p:grpSpPr>
        <p:pic>
          <p:nvPicPr>
            <p:cNvPr id="13" name="Picture 12">
              <a:extLst>
                <a:ext uri="{FF2B5EF4-FFF2-40B4-BE49-F238E27FC236}">
                  <a16:creationId xmlns:a16="http://schemas.microsoft.com/office/drawing/2014/main" id="{0C3287A7-0AE5-15D0-F5AF-75994F4D77A7}"/>
                </a:ext>
              </a:extLst>
            </p:cNvPr>
            <p:cNvPicPr>
              <a:picLocks noChangeAspect="1"/>
            </p:cNvPicPr>
            <p:nvPr/>
          </p:nvPicPr>
          <p:blipFill>
            <a:blip r:embed="rId3"/>
            <a:stretch>
              <a:fillRect/>
            </a:stretch>
          </p:blipFill>
          <p:spPr>
            <a:xfrm>
              <a:off x="233338" y="2120420"/>
              <a:ext cx="4493681" cy="2844624"/>
            </a:xfrm>
            <a:prstGeom prst="rect">
              <a:avLst/>
            </a:prstGeom>
            <a:ln>
              <a:noFill/>
            </a:ln>
            <a:effectLst>
              <a:outerShdw blurRad="190500" algn="tl" rotWithShape="0">
                <a:srgbClr val="000000">
                  <a:alpha val="70000"/>
                </a:srgbClr>
              </a:outerShdw>
            </a:effectLst>
          </p:spPr>
        </p:pic>
        <p:sp>
          <p:nvSpPr>
            <p:cNvPr id="15" name="Rectangle 14">
              <a:extLst>
                <a:ext uri="{FF2B5EF4-FFF2-40B4-BE49-F238E27FC236}">
                  <a16:creationId xmlns:a16="http://schemas.microsoft.com/office/drawing/2014/main" id="{ABF248DF-2AE3-B6FF-66FC-038E8D10D756}"/>
                </a:ext>
              </a:extLst>
            </p:cNvPr>
            <p:cNvSpPr/>
            <p:nvPr/>
          </p:nvSpPr>
          <p:spPr>
            <a:xfrm>
              <a:off x="233338" y="3177310"/>
              <a:ext cx="4493681" cy="461818"/>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Title 4">
            <a:extLst>
              <a:ext uri="{FF2B5EF4-FFF2-40B4-BE49-F238E27FC236}">
                <a16:creationId xmlns:a16="http://schemas.microsoft.com/office/drawing/2014/main" id="{D7E22C1C-753F-BA12-C024-E8A76E851274}"/>
              </a:ext>
            </a:extLst>
          </p:cNvPr>
          <p:cNvSpPr txBox="1">
            <a:spLocks/>
          </p:cNvSpPr>
          <p:nvPr/>
        </p:nvSpPr>
        <p:spPr>
          <a:xfrm>
            <a:off x="269238" y="26286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dirty="0"/>
              <a:t>Feedback Persistence and Percentile (2022)</a:t>
            </a:r>
          </a:p>
        </p:txBody>
      </p:sp>
      <p:grpSp>
        <p:nvGrpSpPr>
          <p:cNvPr id="16" name="Group 15">
            <a:extLst>
              <a:ext uri="{FF2B5EF4-FFF2-40B4-BE49-F238E27FC236}">
                <a16:creationId xmlns:a16="http://schemas.microsoft.com/office/drawing/2014/main" id="{8863AC2F-6021-3446-9D48-929F916E5A9C}"/>
              </a:ext>
            </a:extLst>
          </p:cNvPr>
          <p:cNvGrpSpPr/>
          <p:nvPr/>
        </p:nvGrpSpPr>
        <p:grpSpPr>
          <a:xfrm>
            <a:off x="5979196" y="1630892"/>
            <a:ext cx="4397995" cy="2989328"/>
            <a:chOff x="5063601" y="2120420"/>
            <a:chExt cx="4397995" cy="2989328"/>
          </a:xfrm>
        </p:grpSpPr>
        <p:pic>
          <p:nvPicPr>
            <p:cNvPr id="6" name="Picture 5">
              <a:extLst>
                <a:ext uri="{FF2B5EF4-FFF2-40B4-BE49-F238E27FC236}">
                  <a16:creationId xmlns:a16="http://schemas.microsoft.com/office/drawing/2014/main" id="{63477A8E-D415-4DAA-CCCD-D4EBC85EE090}"/>
                </a:ext>
              </a:extLst>
            </p:cNvPr>
            <p:cNvPicPr>
              <a:picLocks noChangeAspect="1"/>
            </p:cNvPicPr>
            <p:nvPr/>
          </p:nvPicPr>
          <p:blipFill>
            <a:blip r:embed="rId4"/>
            <a:stretch>
              <a:fillRect/>
            </a:stretch>
          </p:blipFill>
          <p:spPr>
            <a:xfrm>
              <a:off x="5063601" y="2120420"/>
              <a:ext cx="4397995" cy="2989328"/>
            </a:xfrm>
            <a:prstGeom prst="rect">
              <a:avLst/>
            </a:prstGeom>
            <a:ln>
              <a:noFill/>
            </a:ln>
            <a:effectLst>
              <a:outerShdw blurRad="190500" algn="tl" rotWithShape="0">
                <a:srgbClr val="000000">
                  <a:alpha val="70000"/>
                </a:srgbClr>
              </a:outerShdw>
            </a:effectLst>
          </p:spPr>
        </p:pic>
        <p:sp>
          <p:nvSpPr>
            <p:cNvPr id="11" name="Rectangle 10">
              <a:extLst>
                <a:ext uri="{FF2B5EF4-FFF2-40B4-BE49-F238E27FC236}">
                  <a16:creationId xmlns:a16="http://schemas.microsoft.com/office/drawing/2014/main" id="{B6F9569C-49E1-F443-A366-351B543FFA15}"/>
                </a:ext>
              </a:extLst>
            </p:cNvPr>
            <p:cNvSpPr/>
            <p:nvPr/>
          </p:nvSpPr>
          <p:spPr>
            <a:xfrm>
              <a:off x="5203493" y="3132373"/>
              <a:ext cx="4258103" cy="468086"/>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6C530062-EE24-0F54-EEE5-318F5C2F5A66}"/>
              </a:ext>
            </a:extLst>
          </p:cNvPr>
          <p:cNvGrpSpPr/>
          <p:nvPr/>
        </p:nvGrpSpPr>
        <p:grpSpPr>
          <a:xfrm>
            <a:off x="3059725" y="3239938"/>
            <a:ext cx="5188414" cy="2921209"/>
            <a:chOff x="2791804" y="3423498"/>
            <a:chExt cx="5188414" cy="2921209"/>
          </a:xfrm>
        </p:grpSpPr>
        <p:pic>
          <p:nvPicPr>
            <p:cNvPr id="18" name="Picture 17">
              <a:extLst>
                <a:ext uri="{FF2B5EF4-FFF2-40B4-BE49-F238E27FC236}">
                  <a16:creationId xmlns:a16="http://schemas.microsoft.com/office/drawing/2014/main" id="{6EE6B918-DBDB-C2CB-44CE-6D2FFB036C6B}"/>
                </a:ext>
              </a:extLst>
            </p:cNvPr>
            <p:cNvPicPr>
              <a:picLocks noChangeAspect="1"/>
            </p:cNvPicPr>
            <p:nvPr/>
          </p:nvPicPr>
          <p:blipFill>
            <a:blip r:embed="rId5"/>
            <a:stretch>
              <a:fillRect/>
            </a:stretch>
          </p:blipFill>
          <p:spPr>
            <a:xfrm>
              <a:off x="2791804" y="3423498"/>
              <a:ext cx="5188414" cy="2921209"/>
            </a:xfrm>
            <a:prstGeom prst="rect">
              <a:avLst/>
            </a:prstGeom>
            <a:ln>
              <a:noFill/>
            </a:ln>
            <a:effectLst>
              <a:outerShdw blurRad="190500" algn="tl" rotWithShape="0">
                <a:srgbClr val="000000">
                  <a:alpha val="70000"/>
                </a:srgbClr>
              </a:outerShdw>
            </a:effectLst>
          </p:spPr>
        </p:pic>
        <p:sp>
          <p:nvSpPr>
            <p:cNvPr id="20" name="Rectangle 19">
              <a:extLst>
                <a:ext uri="{FF2B5EF4-FFF2-40B4-BE49-F238E27FC236}">
                  <a16:creationId xmlns:a16="http://schemas.microsoft.com/office/drawing/2014/main" id="{7EBD274F-ECB4-DEAD-0119-721D84607E17}"/>
                </a:ext>
              </a:extLst>
            </p:cNvPr>
            <p:cNvSpPr/>
            <p:nvPr/>
          </p:nvSpPr>
          <p:spPr>
            <a:xfrm>
              <a:off x="2809856" y="4492979"/>
              <a:ext cx="5170361" cy="468086"/>
            </a:xfrm>
            <a:prstGeom prst="rect">
              <a:avLst/>
            </a:prstGeom>
            <a:solidFill>
              <a:schemeClr val="accent4">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015296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nstration</a:t>
            </a:r>
          </a:p>
        </p:txBody>
      </p:sp>
    </p:spTree>
    <p:extLst>
      <p:ext uri="{BB962C8B-B14F-4D97-AF65-F5344CB8AC3E}">
        <p14:creationId xmlns:p14="http://schemas.microsoft.com/office/powerpoint/2010/main" val="17573987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Questions?</a:t>
            </a:r>
          </a:p>
        </p:txBody>
      </p:sp>
    </p:spTree>
    <p:extLst>
      <p:ext uri="{BB962C8B-B14F-4D97-AF65-F5344CB8AC3E}">
        <p14:creationId xmlns:p14="http://schemas.microsoft.com/office/powerpoint/2010/main" val="2373269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75C3E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895DE7-8142-4F4B-A6BC-24319628C14F}"/>
              </a:ext>
            </a:extLst>
          </p:cNvPr>
          <p:cNvSpPr/>
          <p:nvPr/>
        </p:nvSpPr>
        <p:spPr bwMode="auto">
          <a:xfrm>
            <a:off x="269524" y="690282"/>
            <a:ext cx="11748763" cy="36307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2"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4964595"/>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377" y="4602877"/>
            <a:ext cx="1576068" cy="1576068"/>
          </a:xfrm>
          <a:prstGeom prst="rect">
            <a:avLst/>
          </a:prstGeom>
        </p:spPr>
      </p:pic>
      <p:sp>
        <p:nvSpPr>
          <p:cNvPr id="8" name="TextBox 7">
            <a:extLst>
              <a:ext uri="{FF2B5EF4-FFF2-40B4-BE49-F238E27FC236}">
                <a16:creationId xmlns:a16="http://schemas.microsoft.com/office/drawing/2014/main" id="{26025B8D-586C-40E2-813B-D44DD4CA4556}"/>
              </a:ext>
            </a:extLst>
          </p:cNvPr>
          <p:cNvSpPr txBox="1"/>
          <p:nvPr/>
        </p:nvSpPr>
        <p:spPr>
          <a:xfrm>
            <a:off x="3729614" y="735920"/>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itHub: github.com\SQLMCT</a:t>
            </a:r>
          </a:p>
        </p:txBody>
      </p:sp>
      <p:pic>
        <p:nvPicPr>
          <p:cNvPr id="14" name="Picture 13" descr="A person wearing glasses and looking at the camera&#10;&#10;Description automatically generated">
            <a:extLst>
              <a:ext uri="{FF2B5EF4-FFF2-40B4-BE49-F238E27FC236}">
                <a16:creationId xmlns:a16="http://schemas.microsoft.com/office/drawing/2014/main" id="{4BF1FCD6-B874-43C1-B7DC-00D8BA759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275" y="950497"/>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2">
            <a:extLst>
              <a:ext uri="{FF2B5EF4-FFF2-40B4-BE49-F238E27FC236}">
                <a16:creationId xmlns:a16="http://schemas.microsoft.com/office/drawing/2014/main" id="{BA556E9C-C257-46F8-806F-23A52BB5A3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991" y="4594534"/>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1BCF9874-B55B-4EFC-BBD2-EC31BB5138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42219" y="462786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CD6C68E0-AA3D-4089-A9D8-76DB3F1D13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5605" y="4602877"/>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25638B0-3CDF-4AA9-9C43-F417F187C4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31130" y="4581653"/>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279329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is in the session?</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extLst>
              <p:ext uri="{D42A27DB-BD31-4B8C-83A1-F6EECF244321}">
                <p14:modId xmlns:p14="http://schemas.microsoft.com/office/powerpoint/2010/main" val="4282403987"/>
              </p:ext>
            </p:extLst>
          </p:nvPr>
        </p:nvGraphicFramePr>
        <p:xfrm>
          <a:off x="655638" y="1011676"/>
          <a:ext cx="10880725" cy="55262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04642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 (2022)</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3455734179"/>
              </p:ext>
            </p:extLst>
          </p:nvPr>
        </p:nvGraphicFramePr>
        <p:xfrm>
          <a:off x="134619" y="-206188"/>
          <a:ext cx="11922762" cy="7064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algn="ctr"/>
            <a:r>
              <a:rPr lang="en-US" dirty="0">
                <a:solidFill>
                  <a:schemeClr val="bg1"/>
                </a:solidFill>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endParaRPr lang="en-US" dirty="0"/>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solidFill>
                  <a:schemeClr val="tx1"/>
                </a:solidFill>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algn="ctr"/>
            <a:r>
              <a:rPr lang="en-US" dirty="0">
                <a:solidFill>
                  <a:schemeClr val="bg1"/>
                </a:solidFill>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algn="ctr"/>
            <a:r>
              <a:rPr lang="en-US" dirty="0">
                <a:solidFill>
                  <a:schemeClr val="bg1"/>
                </a:solidFill>
              </a:rPr>
              <a:t>2022</a:t>
            </a:r>
          </a:p>
        </p:txBody>
      </p:sp>
    </p:spTree>
    <p:extLst>
      <p:ext uri="{BB962C8B-B14F-4D97-AF65-F5344CB8AC3E}">
        <p14:creationId xmlns:p14="http://schemas.microsoft.com/office/powerpoint/2010/main" val="4545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Instance Level</a:t>
            </a:r>
          </a:p>
        </p:txBody>
      </p:sp>
      <p:graphicFrame>
        <p:nvGraphicFramePr>
          <p:cNvPr id="2" name="Diagram 1">
            <a:extLst>
              <a:ext uri="{FF2B5EF4-FFF2-40B4-BE49-F238E27FC236}">
                <a16:creationId xmlns:a16="http://schemas.microsoft.com/office/drawing/2014/main" id="{A3F703EF-4406-0849-9267-50C04D501408}"/>
              </a:ext>
            </a:extLst>
          </p:cNvPr>
          <p:cNvGraphicFramePr/>
          <p:nvPr>
            <p:extLst>
              <p:ext uri="{D42A27DB-BD31-4B8C-83A1-F6EECF244321}">
                <p14:modId xmlns:p14="http://schemas.microsoft.com/office/powerpoint/2010/main" val="710535984"/>
              </p:ext>
            </p:extLst>
          </p:nvPr>
        </p:nvGraphicFramePr>
        <p:xfrm>
          <a:off x="269238" y="1108303"/>
          <a:ext cx="11546244" cy="5005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5833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Enabling and Disabling – Database Level</a:t>
            </a:r>
          </a:p>
        </p:txBody>
      </p:sp>
      <p:sp>
        <p:nvSpPr>
          <p:cNvPr id="8" name="Rectangle 7">
            <a:extLst>
              <a:ext uri="{FF2B5EF4-FFF2-40B4-BE49-F238E27FC236}">
                <a16:creationId xmlns:a16="http://schemas.microsoft.com/office/drawing/2014/main" id="{E87CA332-0A98-47A2-A23B-F3DD2B6B6F7C}"/>
              </a:ext>
            </a:extLst>
          </p:cNvPr>
          <p:cNvSpPr/>
          <p:nvPr/>
        </p:nvSpPr>
        <p:spPr>
          <a:xfrm>
            <a:off x="366516" y="1380333"/>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DISABLE_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9" name="Rectangle 8">
            <a:extLst>
              <a:ext uri="{FF2B5EF4-FFF2-40B4-BE49-F238E27FC236}">
                <a16:creationId xmlns:a16="http://schemas.microsoft.com/office/drawing/2014/main" id="{F8948C42-E3EE-42C8-AB1C-9B48B5641AD7}"/>
              </a:ext>
            </a:extLst>
          </p:cNvPr>
          <p:cNvSpPr/>
          <p:nvPr/>
        </p:nvSpPr>
        <p:spPr>
          <a:xfrm>
            <a:off x="366516" y="1979446"/>
            <a:ext cx="10880725" cy="461665"/>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LTER</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ATABA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COPED</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ONFIGURA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BATCH_MODE_ADAPTIVE_JOINS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1"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FF</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2" name="Content Placeholder 3">
            <a:extLst>
              <a:ext uri="{FF2B5EF4-FFF2-40B4-BE49-F238E27FC236}">
                <a16:creationId xmlns:a16="http://schemas.microsoft.com/office/drawing/2014/main" id="{5302B98C-991B-4EC1-A910-70B6E4583027}"/>
              </a:ext>
            </a:extLst>
          </p:cNvPr>
          <p:cNvSpPr txBox="1">
            <a:spLocks/>
          </p:cNvSpPr>
          <p:nvPr/>
        </p:nvSpPr>
        <p:spPr>
          <a:xfrm>
            <a:off x="269239" y="912430"/>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Different settings for 2017 vs Azure SQL, SQL Server 2019 and higher</a:t>
            </a:r>
          </a:p>
        </p:txBody>
      </p:sp>
      <p:pic>
        <p:nvPicPr>
          <p:cNvPr id="6" name="Picture 5">
            <a:extLst>
              <a:ext uri="{FF2B5EF4-FFF2-40B4-BE49-F238E27FC236}">
                <a16:creationId xmlns:a16="http://schemas.microsoft.com/office/drawing/2014/main" id="{627D0D4B-C7C8-CE62-FC64-8607BAC99CF3}"/>
              </a:ext>
            </a:extLst>
          </p:cNvPr>
          <p:cNvPicPr>
            <a:picLocks noChangeAspect="1"/>
          </p:cNvPicPr>
          <p:nvPr/>
        </p:nvPicPr>
        <p:blipFill>
          <a:blip r:embed="rId3"/>
          <a:stretch>
            <a:fillRect/>
          </a:stretch>
        </p:blipFill>
        <p:spPr>
          <a:xfrm>
            <a:off x="3195863" y="3676840"/>
            <a:ext cx="5373501" cy="2544406"/>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F5126A6-AFD7-AACE-460C-1C13A2C03B35}"/>
              </a:ext>
            </a:extLst>
          </p:cNvPr>
          <p:cNvSpPr/>
          <p:nvPr/>
        </p:nvSpPr>
        <p:spPr>
          <a:xfrm>
            <a:off x="366516" y="3030287"/>
            <a:ext cx="10880725" cy="461665"/>
          </a:xfrm>
          <a:prstGeom prst="rect">
            <a:avLst/>
          </a:prstGeom>
          <a:ln>
            <a:solidFill>
              <a:schemeClr val="accent1"/>
            </a:solidFill>
          </a:ln>
          <a:effectLst/>
        </p:spPr>
        <p:txBody>
          <a:bodyPr wrap="square">
            <a:noAutofit/>
          </a:bodyPr>
          <a:lstStyle/>
          <a:p>
            <a:pPr>
              <a:defRPr/>
            </a:pPr>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chemeClr val="accent6">
                    <a:lumMod val="50000"/>
                  </a:schemeClr>
                </a:solidFill>
                <a:latin typeface="Consolas" panose="020B0609020204030204" pitchFamily="49" charset="0"/>
              </a:rPr>
              <a:t>sys.database_scoped_configuratio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8" name="Content Placeholder 3">
            <a:extLst>
              <a:ext uri="{FF2B5EF4-FFF2-40B4-BE49-F238E27FC236}">
                <a16:creationId xmlns:a16="http://schemas.microsoft.com/office/drawing/2014/main" id="{3A58E64D-6028-810B-C559-6CD5A5A43E1C}"/>
              </a:ext>
            </a:extLst>
          </p:cNvPr>
          <p:cNvSpPr txBox="1">
            <a:spLocks/>
          </p:cNvSpPr>
          <p:nvPr/>
        </p:nvSpPr>
        <p:spPr>
          <a:xfrm>
            <a:off x="320478" y="2528586"/>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Database Scoped Configuration setting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12303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1824150" cy="1143000"/>
          </a:xfrm>
        </p:spPr>
        <p:txBody>
          <a:bodyPr/>
          <a:lstStyle/>
          <a:p>
            <a:r>
              <a:rPr lang="en-US" dirty="0"/>
              <a:t>Enabling and Disabling – Statement Level</a:t>
            </a:r>
          </a:p>
        </p:txBody>
      </p:sp>
      <p:sp>
        <p:nvSpPr>
          <p:cNvPr id="10" name="Rectangle 9">
            <a:extLst>
              <a:ext uri="{FF2B5EF4-FFF2-40B4-BE49-F238E27FC236}">
                <a16:creationId xmlns:a16="http://schemas.microsoft.com/office/drawing/2014/main" id="{0665CE9E-5D61-45F3-9D4E-8F9C03FF9346}"/>
              </a:ext>
            </a:extLst>
          </p:cNvPr>
          <p:cNvSpPr/>
          <p:nvPr/>
        </p:nvSpPr>
        <p:spPr>
          <a:xfrm>
            <a:off x="384444" y="1423989"/>
            <a:ext cx="10880725" cy="696189"/>
          </a:xfrm>
          <a:prstGeom prst="rect">
            <a:avLst/>
          </a:prstGeom>
          <a:ln>
            <a:solidFill>
              <a:schemeClr val="accent1"/>
            </a:solidFill>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lt;statemen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OPTION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US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HINT</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DISABLE_BATCH_MODE_ADAPTIVE_JOIN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16" name="Content Placeholder 3">
            <a:extLst>
              <a:ext uri="{FF2B5EF4-FFF2-40B4-BE49-F238E27FC236}">
                <a16:creationId xmlns:a16="http://schemas.microsoft.com/office/drawing/2014/main" id="{8F0F5418-94D3-40D4-AF8D-94BC66BE8CE6}"/>
              </a:ext>
            </a:extLst>
          </p:cNvPr>
          <p:cNvSpPr txBox="1">
            <a:spLocks/>
          </p:cNvSpPr>
          <p:nvPr/>
        </p:nvSpPr>
        <p:spPr>
          <a:xfrm>
            <a:off x="384444" y="962323"/>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You can disable </a:t>
            </a:r>
            <a:r>
              <a:rPr lang="en-US" dirty="0">
                <a:latin typeface="Segoe UI"/>
              </a:rPr>
              <a:t>features</a:t>
            </a:r>
            <a:r>
              <a:rPr kumimoji="0" lang="en-US" sz="2400" b="0" i="0" u="none" strike="noStrike" kern="1200" cap="none" spc="0" normalizeH="0" baseline="0" noProof="0" dirty="0">
                <a:ln>
                  <a:noFill/>
                </a:ln>
                <a:solidFill>
                  <a:srgbClr val="404040"/>
                </a:solidFill>
                <a:effectLst/>
                <a:uLnTx/>
                <a:uFillTx/>
                <a:latin typeface="Segoe UI"/>
                <a:ea typeface="+mn-ea"/>
                <a:cs typeface="+mn-cs"/>
              </a:rPr>
              <a:t> at the statement scope if necessary.</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4DC5D965-CC3D-FF89-C92A-D96C4523B10D}"/>
              </a:ext>
            </a:extLst>
          </p:cNvPr>
          <p:cNvSpPr/>
          <p:nvPr/>
        </p:nvSpPr>
        <p:spPr>
          <a:xfrm>
            <a:off x="338408" y="2772846"/>
            <a:ext cx="10880725" cy="461665"/>
          </a:xfrm>
          <a:prstGeom prst="rect">
            <a:avLst/>
          </a:prstGeom>
          <a:ln>
            <a:solidFill>
              <a:schemeClr val="accent1"/>
            </a:solidFill>
          </a:ln>
          <a:effectLst/>
        </p:spPr>
        <p:txBody>
          <a:bodyPr wrap="square">
            <a:noAutofit/>
          </a:bodyPr>
          <a:lstStyle/>
          <a:p>
            <a:pPr>
              <a:defRPr/>
            </a:pPr>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chemeClr val="accent6">
                    <a:lumMod val="50000"/>
                  </a:schemeClr>
                </a:solidFill>
                <a:latin typeface="Consolas" panose="020B0609020204030204" pitchFamily="49" charset="0"/>
              </a:rPr>
              <a:t>sys.dm_exec_valid_use_hints</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sp>
        <p:nvSpPr>
          <p:cNvPr id="3" name="Content Placeholder 3">
            <a:extLst>
              <a:ext uri="{FF2B5EF4-FFF2-40B4-BE49-F238E27FC236}">
                <a16:creationId xmlns:a16="http://schemas.microsoft.com/office/drawing/2014/main" id="{4FABCB0E-57A1-B0FC-D699-B56FEFB762BB}"/>
              </a:ext>
            </a:extLst>
          </p:cNvPr>
          <p:cNvSpPr txBox="1">
            <a:spLocks/>
          </p:cNvSpPr>
          <p:nvPr/>
        </p:nvSpPr>
        <p:spPr>
          <a:xfrm>
            <a:off x="292370" y="2271145"/>
            <a:ext cx="10972799" cy="461666"/>
          </a:xfrm>
          <a:prstGeom prst="rect">
            <a:avLst/>
          </a:prstGeom>
        </p:spPr>
        <p:txBody>
          <a:bodyPr>
            <a:normAutofit/>
          </a:bodyPr>
          <a:lst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ct val="20000"/>
              </a:spcBef>
              <a:spcAft>
                <a:spcPts val="0"/>
              </a:spcAft>
              <a:buClrTx/>
              <a:buSzTx/>
              <a:buFont typeface="Arial"/>
              <a:buNone/>
              <a:tabLst/>
              <a:defRPr/>
            </a:pPr>
            <a:r>
              <a:rPr kumimoji="0" lang="en-US" sz="2400" b="0" i="0" u="none" strike="noStrike" kern="1200" cap="none" spc="0" normalizeH="0" baseline="0" noProof="0" dirty="0">
                <a:ln>
                  <a:noFill/>
                </a:ln>
                <a:solidFill>
                  <a:srgbClr val="404040"/>
                </a:solidFill>
                <a:effectLst/>
                <a:uLnTx/>
                <a:uFillTx/>
                <a:latin typeface="Segoe UI"/>
                <a:ea typeface="+mn-ea"/>
                <a:cs typeface="+mn-cs"/>
              </a:rPr>
              <a:t>To get a list of valid query use hints</a:t>
            </a:r>
          </a:p>
          <a:p>
            <a:pPr marL="0" marR="0" lvl="0" indent="0" algn="l" defTabSz="914225"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rgbClr val="404040"/>
              </a:solidFill>
              <a:effectLst/>
              <a:uLnTx/>
              <a:uFillTx/>
              <a:latin typeface="Segoe UI"/>
              <a:ea typeface="+mn-ea"/>
              <a:cs typeface="+mn-cs"/>
            </a:endParaRPr>
          </a:p>
        </p:txBody>
      </p:sp>
      <p:pic>
        <p:nvPicPr>
          <p:cNvPr id="7" name="Picture 6" descr="Text&#10;&#10;Description automatically generated">
            <a:extLst>
              <a:ext uri="{FF2B5EF4-FFF2-40B4-BE49-F238E27FC236}">
                <a16:creationId xmlns:a16="http://schemas.microsoft.com/office/drawing/2014/main" id="{2C1CF975-373F-F8BB-BE11-E76F338FF1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3660" y="3429000"/>
            <a:ext cx="5104680" cy="2953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616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p:txBody>
          <a:bodyPr/>
          <a:lstStyle/>
          <a:p>
            <a:r>
              <a:rPr lang="en-US" dirty="0"/>
              <a:t>Intelligent Query Processing</a:t>
            </a:r>
          </a:p>
        </p:txBody>
      </p:sp>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1815734572"/>
              </p:ext>
            </p:extLst>
          </p:nvPr>
        </p:nvGraphicFramePr>
        <p:xfrm>
          <a:off x="134619" y="80682"/>
          <a:ext cx="11922762" cy="6777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Rounded Corners 3">
            <a:extLst>
              <a:ext uri="{FF2B5EF4-FFF2-40B4-BE49-F238E27FC236}">
                <a16:creationId xmlns:a16="http://schemas.microsoft.com/office/drawing/2014/main" id="{5C33F813-B821-8738-1C54-C07BA8626E20}"/>
              </a:ext>
            </a:extLst>
          </p:cNvPr>
          <p:cNvSpPr/>
          <p:nvPr/>
        </p:nvSpPr>
        <p:spPr>
          <a:xfrm>
            <a:off x="7331488" y="5885236"/>
            <a:ext cx="1412842" cy="479426"/>
          </a:xfrm>
          <a:prstGeom prst="roundRect">
            <a:avLst/>
          </a:prstGeom>
          <a:solidFill>
            <a:schemeClr val="accent4">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8" name="TextBox 7">
            <a:extLst>
              <a:ext uri="{FF2B5EF4-FFF2-40B4-BE49-F238E27FC236}">
                <a16:creationId xmlns:a16="http://schemas.microsoft.com/office/drawing/2014/main" id="{940BFE80-5C81-5812-6DB5-0A2B660092C2}"/>
              </a:ext>
            </a:extLst>
          </p:cNvPr>
          <p:cNvSpPr txBox="1"/>
          <p:nvPr/>
        </p:nvSpPr>
        <p:spPr>
          <a:xfrm>
            <a:off x="7166690" y="5944622"/>
            <a:ext cx="1742438" cy="369332"/>
          </a:xfrm>
          <a:prstGeom prst="rect">
            <a:avLst/>
          </a:prstGeom>
          <a:noFill/>
        </p:spPr>
        <p:txBody>
          <a:bodyPr wrap="square" rtlCol="0">
            <a:spAutoFit/>
          </a:bodyPr>
          <a:lstStyle/>
          <a:p>
            <a:pPr algn="ctr"/>
            <a:r>
              <a:rPr lang="en-US" dirty="0">
                <a:solidFill>
                  <a:schemeClr val="bg1"/>
                </a:solidFill>
              </a:rPr>
              <a:t>2017</a:t>
            </a:r>
          </a:p>
        </p:txBody>
      </p:sp>
      <p:sp>
        <p:nvSpPr>
          <p:cNvPr id="20" name="TextBox 19">
            <a:extLst>
              <a:ext uri="{FF2B5EF4-FFF2-40B4-BE49-F238E27FC236}">
                <a16:creationId xmlns:a16="http://schemas.microsoft.com/office/drawing/2014/main" id="{79A62EE3-7277-280C-19FA-2D48486A2094}"/>
              </a:ext>
            </a:extLst>
          </p:cNvPr>
          <p:cNvSpPr txBox="1"/>
          <p:nvPr/>
        </p:nvSpPr>
        <p:spPr>
          <a:xfrm>
            <a:off x="8568768" y="5221662"/>
            <a:ext cx="2409825" cy="493980"/>
          </a:xfrm>
          <a:prstGeom prst="rect">
            <a:avLst/>
          </a:prstGeom>
          <a:noFill/>
        </p:spPr>
        <p:txBody>
          <a:bodyPr wrap="square" rtlCol="0">
            <a:spAutoFit/>
          </a:bodyPr>
          <a:lstStyle/>
          <a:p>
            <a:endParaRPr lang="en-US" dirty="0"/>
          </a:p>
        </p:txBody>
      </p:sp>
      <p:sp>
        <p:nvSpPr>
          <p:cNvPr id="22" name="Rectangle: Rounded Corners 21">
            <a:extLst>
              <a:ext uri="{FF2B5EF4-FFF2-40B4-BE49-F238E27FC236}">
                <a16:creationId xmlns:a16="http://schemas.microsoft.com/office/drawing/2014/main" id="{6FAD4932-B5EA-DA60-B3A9-69292F5B14AD}"/>
              </a:ext>
            </a:extLst>
          </p:cNvPr>
          <p:cNvSpPr/>
          <p:nvPr/>
        </p:nvSpPr>
        <p:spPr>
          <a:xfrm>
            <a:off x="7331488" y="5341409"/>
            <a:ext cx="4507272" cy="398195"/>
          </a:xfrm>
          <a:prstGeom prst="roundRect">
            <a:avLst/>
          </a:prstGeom>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solidFill>
                  <a:schemeClr val="tx1"/>
                </a:solidFill>
              </a:rPr>
              <a:t>Azure SQL Database</a:t>
            </a:r>
          </a:p>
        </p:txBody>
      </p:sp>
      <p:sp>
        <p:nvSpPr>
          <p:cNvPr id="26" name="Rectangle: Rounded Corners 25">
            <a:extLst>
              <a:ext uri="{FF2B5EF4-FFF2-40B4-BE49-F238E27FC236}">
                <a16:creationId xmlns:a16="http://schemas.microsoft.com/office/drawing/2014/main" id="{2F65726C-97E2-ABE3-B671-36903AD16D02}"/>
              </a:ext>
            </a:extLst>
          </p:cNvPr>
          <p:cNvSpPr/>
          <p:nvPr/>
        </p:nvSpPr>
        <p:spPr>
          <a:xfrm>
            <a:off x="8866132" y="5885236"/>
            <a:ext cx="1412842" cy="479426"/>
          </a:xfrm>
          <a:prstGeom prst="roundRect">
            <a:avLst/>
          </a:prstGeom>
          <a:solidFill>
            <a:schemeClr val="accent6">
              <a:lumMod val="75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10" name="TextBox 9">
            <a:extLst>
              <a:ext uri="{FF2B5EF4-FFF2-40B4-BE49-F238E27FC236}">
                <a16:creationId xmlns:a16="http://schemas.microsoft.com/office/drawing/2014/main" id="{77088EEC-C3A9-CE29-025D-FEBDD1FF820A}"/>
              </a:ext>
            </a:extLst>
          </p:cNvPr>
          <p:cNvSpPr txBox="1"/>
          <p:nvPr/>
        </p:nvSpPr>
        <p:spPr>
          <a:xfrm>
            <a:off x="8701334" y="5943913"/>
            <a:ext cx="1742438" cy="369332"/>
          </a:xfrm>
          <a:prstGeom prst="rect">
            <a:avLst/>
          </a:prstGeom>
          <a:noFill/>
        </p:spPr>
        <p:txBody>
          <a:bodyPr wrap="square" rtlCol="0">
            <a:spAutoFit/>
          </a:bodyPr>
          <a:lstStyle/>
          <a:p>
            <a:pPr algn="ctr"/>
            <a:r>
              <a:rPr lang="en-US" dirty="0">
                <a:solidFill>
                  <a:schemeClr val="bg1"/>
                </a:solidFill>
              </a:rPr>
              <a:t>2019</a:t>
            </a:r>
          </a:p>
        </p:txBody>
      </p:sp>
      <p:sp>
        <p:nvSpPr>
          <p:cNvPr id="28" name="Rectangle: Rounded Corners 27">
            <a:extLst>
              <a:ext uri="{FF2B5EF4-FFF2-40B4-BE49-F238E27FC236}">
                <a16:creationId xmlns:a16="http://schemas.microsoft.com/office/drawing/2014/main" id="{DF4E77BC-28EC-7AE1-C49E-789136D0D657}"/>
              </a:ext>
            </a:extLst>
          </p:cNvPr>
          <p:cNvSpPr/>
          <p:nvPr/>
        </p:nvSpPr>
        <p:spPr>
          <a:xfrm>
            <a:off x="10425918" y="5885236"/>
            <a:ext cx="1412842" cy="479426"/>
          </a:xfrm>
          <a:prstGeom prst="roundRect">
            <a:avLst/>
          </a:prstGeom>
          <a:solidFill>
            <a:schemeClr val="tx2">
              <a:lumMod val="60000"/>
              <a:lumOff val="40000"/>
            </a:schemeClr>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chemeClr val="bg1"/>
              </a:solidFill>
            </a:endParaRPr>
          </a:p>
        </p:txBody>
      </p:sp>
      <p:sp>
        <p:nvSpPr>
          <p:cNvPr id="30" name="TextBox 29">
            <a:extLst>
              <a:ext uri="{FF2B5EF4-FFF2-40B4-BE49-F238E27FC236}">
                <a16:creationId xmlns:a16="http://schemas.microsoft.com/office/drawing/2014/main" id="{843B6F55-A55E-0234-5628-BF891AB2A877}"/>
              </a:ext>
            </a:extLst>
          </p:cNvPr>
          <p:cNvSpPr txBox="1"/>
          <p:nvPr/>
        </p:nvSpPr>
        <p:spPr>
          <a:xfrm>
            <a:off x="10263919" y="5934553"/>
            <a:ext cx="1742438" cy="369332"/>
          </a:xfrm>
          <a:prstGeom prst="rect">
            <a:avLst/>
          </a:prstGeom>
          <a:noFill/>
        </p:spPr>
        <p:txBody>
          <a:bodyPr wrap="square" rtlCol="0">
            <a:spAutoFit/>
          </a:bodyPr>
          <a:lstStyle/>
          <a:p>
            <a:pPr algn="ctr"/>
            <a:r>
              <a:rPr lang="en-US" dirty="0">
                <a:solidFill>
                  <a:schemeClr val="bg1"/>
                </a:solidFill>
              </a:rPr>
              <a:t>2022</a:t>
            </a:r>
          </a:p>
        </p:txBody>
      </p:sp>
    </p:spTree>
    <p:extLst>
      <p:ext uri="{BB962C8B-B14F-4D97-AF65-F5344CB8AC3E}">
        <p14:creationId xmlns:p14="http://schemas.microsoft.com/office/powerpoint/2010/main" val="2016030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B258EE7-9952-4097-AD9B-A979F3BE55CF}"/>
              </a:ext>
            </a:extLst>
          </p:cNvPr>
          <p:cNvGraphicFramePr/>
          <p:nvPr>
            <p:extLst>
              <p:ext uri="{D42A27DB-BD31-4B8C-83A1-F6EECF244321}">
                <p14:modId xmlns:p14="http://schemas.microsoft.com/office/powerpoint/2010/main" val="3731528629"/>
              </p:ext>
            </p:extLst>
          </p:nvPr>
        </p:nvGraphicFramePr>
        <p:xfrm>
          <a:off x="7061271" y="1028217"/>
          <a:ext cx="4785467" cy="48772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Rounded Corners 2">
            <a:extLst>
              <a:ext uri="{FF2B5EF4-FFF2-40B4-BE49-F238E27FC236}">
                <a16:creationId xmlns:a16="http://schemas.microsoft.com/office/drawing/2014/main" id="{B2A36384-BD4B-42B3-A7F1-92DE18851E01}"/>
              </a:ext>
            </a:extLst>
          </p:cNvPr>
          <p:cNvSpPr/>
          <p:nvPr/>
        </p:nvSpPr>
        <p:spPr>
          <a:xfrm>
            <a:off x="8728364" y="3020291"/>
            <a:ext cx="1440871" cy="895927"/>
          </a:xfrm>
          <a:prstGeom prst="roundRect">
            <a:avLst/>
          </a:prstGeom>
          <a:noFill/>
          <a:ln>
            <a:solidFill>
              <a:srgbClr val="FF0000"/>
            </a:solid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4">
            <a:extLst>
              <a:ext uri="{FF2B5EF4-FFF2-40B4-BE49-F238E27FC236}">
                <a16:creationId xmlns:a16="http://schemas.microsoft.com/office/drawing/2014/main" id="{480E731A-231A-422C-52A1-4134454309E2}"/>
              </a:ext>
            </a:extLst>
          </p:cNvPr>
          <p:cNvSpPr txBox="1">
            <a:spLocks/>
          </p:cNvSpPr>
          <p:nvPr/>
        </p:nvSpPr>
        <p:spPr>
          <a:xfrm>
            <a:off x="269238" y="174885"/>
            <a:ext cx="11465562"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dirty="0"/>
              <a:t>Memory Grant Feedback </a:t>
            </a:r>
          </a:p>
        </p:txBody>
      </p:sp>
      <p:graphicFrame>
        <p:nvGraphicFramePr>
          <p:cNvPr id="10" name="Diagram 9">
            <a:extLst>
              <a:ext uri="{FF2B5EF4-FFF2-40B4-BE49-F238E27FC236}">
                <a16:creationId xmlns:a16="http://schemas.microsoft.com/office/drawing/2014/main" id="{22BC0C73-DD00-4516-D807-653275E574E3}"/>
              </a:ext>
            </a:extLst>
          </p:cNvPr>
          <p:cNvGraphicFramePr/>
          <p:nvPr>
            <p:extLst>
              <p:ext uri="{D42A27DB-BD31-4B8C-83A1-F6EECF244321}">
                <p14:modId xmlns:p14="http://schemas.microsoft.com/office/powerpoint/2010/main" val="1861446038"/>
              </p:ext>
            </p:extLst>
          </p:nvPr>
        </p:nvGraphicFramePr>
        <p:xfrm>
          <a:off x="269238" y="888582"/>
          <a:ext cx="6445599" cy="53043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92897422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1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5.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6.xml><?xml version="1.0" encoding="utf-8"?>
<a:theme xmlns:a="http://schemas.openxmlformats.org/drawingml/2006/main" name="2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721</Words>
  <Application>Microsoft Office PowerPoint</Application>
  <PresentationFormat>Widescreen</PresentationFormat>
  <Paragraphs>192</Paragraphs>
  <Slides>19</Slides>
  <Notes>16</Notes>
  <HiddenSlides>0</HiddenSlides>
  <MMClips>0</MMClips>
  <ScaleCrop>false</ScaleCrop>
  <HeadingPairs>
    <vt:vector size="6" baseType="variant">
      <vt:variant>
        <vt:lpstr>Fonts Used</vt:lpstr>
      </vt:variant>
      <vt:variant>
        <vt:i4>9</vt:i4>
      </vt:variant>
      <vt:variant>
        <vt:lpstr>Theme</vt:lpstr>
      </vt:variant>
      <vt:variant>
        <vt:i4>6</vt:i4>
      </vt:variant>
      <vt:variant>
        <vt:lpstr>Slide Titles</vt:lpstr>
      </vt:variant>
      <vt:variant>
        <vt:i4>19</vt:i4>
      </vt:variant>
    </vt:vector>
  </HeadingPairs>
  <TitlesOfParts>
    <vt:vector size="34" baseType="lpstr">
      <vt:lpstr>Arial</vt:lpstr>
      <vt:lpstr>Calibri</vt:lpstr>
      <vt:lpstr>Century Gothic</vt:lpstr>
      <vt:lpstr>Consolas</vt:lpstr>
      <vt:lpstr>Lucida Console</vt:lpstr>
      <vt:lpstr>Segoe UI</vt:lpstr>
      <vt:lpstr>Segoe UI Semibold</vt:lpstr>
      <vt:lpstr>Segoe UI Semilight</vt:lpstr>
      <vt:lpstr>Wingdings</vt:lpstr>
      <vt:lpstr>PASS 2013_SpeakerTemplate_Final</vt:lpstr>
      <vt:lpstr>Microsoft 365 PPT Template - 2018</vt:lpstr>
      <vt:lpstr>1_Dark Blue</vt:lpstr>
      <vt:lpstr>1_Microsoft 365 PPT Template - 2018</vt:lpstr>
      <vt:lpstr>5-50203_Microsoft_Ignite_Template</vt:lpstr>
      <vt:lpstr>2_Dark Blue</vt:lpstr>
      <vt:lpstr>Introduction to  Intelligent Query Processing </vt:lpstr>
      <vt:lpstr>PowerPoint Presentation</vt:lpstr>
      <vt:lpstr>What is in the session?</vt:lpstr>
      <vt:lpstr>Intelligent Query Processing (2022)</vt:lpstr>
      <vt:lpstr>Enabling and Disabling – Instance Level</vt:lpstr>
      <vt:lpstr>Enabling and Disabling – Database Level</vt:lpstr>
      <vt:lpstr>Enabling and Disabling – Statement Level</vt:lpstr>
      <vt:lpstr>Intelligent Query Processing</vt:lpstr>
      <vt:lpstr>PowerPoint Presentation</vt:lpstr>
      <vt:lpstr>Batch Mode Memory Grant Feedback (2017)</vt:lpstr>
      <vt:lpstr>Row Mode Memory Grant Feedback (2019)</vt:lpstr>
      <vt:lpstr>Row Mode Memory Grant Feedback (2019)</vt:lpstr>
      <vt:lpstr>Feedback Persistence (2022)</vt:lpstr>
      <vt:lpstr>Feedback Persistence and Percentile (2022)</vt:lpstr>
      <vt:lpstr>Feedback Persistence and Percentile (2022)</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08-11T13:5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